
<file path=[Content_Types].xml><?xml version="1.0" encoding="utf-8"?>
<Types xmlns="http://schemas.openxmlformats.org/package/2006/content-types"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mp" ContentType="image/png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notesSlides/notesSlide12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notesSlides/notesSlide19.xml" ContentType="application/vnd.openxmlformats-officedocument.presentationml.notesSl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20.xml" ContentType="application/vnd.openxmlformats-officedocument.presentationml.notesSlid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21.xml" ContentType="application/vnd.openxmlformats-officedocument.presentationml.notesSlid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22.xml" ContentType="application/vnd.openxmlformats-officedocument.presentationml.notesSlid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23.xml" ContentType="application/vnd.openxmlformats-officedocument.presentationml.notesSlide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charts/chart19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notesSlides/notesSlide26.xml" ContentType="application/vnd.openxmlformats-officedocument.presentationml.notesSlide+xml"/>
  <Override PartName="/ppt/charts/chart20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charts/chart21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>
  <p:sldMasterIdLst>
    <p:sldMasterId id="2147483648" r:id="rId1"/>
    <p:sldMasterId id="2147483673" r:id="rId2"/>
    <p:sldMasterId id="2147483687" r:id="rId3"/>
  </p:sldMasterIdLst>
  <p:notesMasterIdLst>
    <p:notesMasterId r:id="rId47"/>
  </p:notesMasterIdLst>
  <p:sldIdLst>
    <p:sldId id="1722" r:id="rId4"/>
    <p:sldId id="4642" r:id="rId5"/>
    <p:sldId id="1731" r:id="rId6"/>
    <p:sldId id="1635" r:id="rId7"/>
    <p:sldId id="2260" r:id="rId8"/>
    <p:sldId id="4703" r:id="rId9"/>
    <p:sldId id="2244" r:id="rId10"/>
    <p:sldId id="4630" r:id="rId11"/>
    <p:sldId id="4705" r:id="rId12"/>
    <p:sldId id="1726" r:id="rId13"/>
    <p:sldId id="4627" r:id="rId14"/>
    <p:sldId id="1728" r:id="rId15"/>
    <p:sldId id="4706" r:id="rId16"/>
    <p:sldId id="4707" r:id="rId17"/>
    <p:sldId id="2263" r:id="rId18"/>
    <p:sldId id="4671" r:id="rId19"/>
    <p:sldId id="2272" r:id="rId20"/>
    <p:sldId id="2274" r:id="rId21"/>
    <p:sldId id="2276" r:id="rId22"/>
    <p:sldId id="4643" r:id="rId23"/>
    <p:sldId id="4709" r:id="rId24"/>
    <p:sldId id="4710" r:id="rId25"/>
    <p:sldId id="4681" r:id="rId26"/>
    <p:sldId id="4682" r:id="rId27"/>
    <p:sldId id="4683" r:id="rId28"/>
    <p:sldId id="4684" r:id="rId29"/>
    <p:sldId id="4685" r:id="rId30"/>
    <p:sldId id="4686" r:id="rId31"/>
    <p:sldId id="4687" r:id="rId32"/>
    <p:sldId id="1171" r:id="rId33"/>
    <p:sldId id="1483" r:id="rId34"/>
    <p:sldId id="2388" r:id="rId35"/>
    <p:sldId id="4688" r:id="rId36"/>
    <p:sldId id="4689" r:id="rId37"/>
    <p:sldId id="4690" r:id="rId38"/>
    <p:sldId id="4691" r:id="rId39"/>
    <p:sldId id="4692" r:id="rId40"/>
    <p:sldId id="4693" r:id="rId41"/>
    <p:sldId id="4694" r:id="rId42"/>
    <p:sldId id="4695" r:id="rId43"/>
    <p:sldId id="4589" r:id="rId44"/>
    <p:sldId id="1480" r:id="rId45"/>
    <p:sldId id="4696" r:id="rId46"/>
  </p:sldIdLst>
  <p:sldSz cx="12192000" cy="6858000"/>
  <p:notesSz cx="6858000" cy="9144000"/>
  <p:embeddedFontLst>
    <p:embeddedFont>
      <p:font typeface="Calibri" panose="020F0502020204030204" pitchFamily="34" charset="0"/>
      <p:regular r:id="rId48"/>
      <p:bold r:id="rId49"/>
      <p:italic r:id="rId50"/>
      <p:boldItalic r:id="rId51"/>
    </p:embeddedFont>
    <p:embeddedFont>
      <p:font typeface="Calibri Light" panose="020F0302020204030204" pitchFamily="34" charset="0"/>
      <p:regular r:id="rId52"/>
      <p:italic r:id="rId53"/>
    </p:embeddedFont>
  </p:embeddedFontLst>
  <p:custDataLst>
    <p:tags r:id="rId54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67" userDrawn="1">
          <p15:clr>
            <a:srgbClr val="A4A3A4"/>
          </p15:clr>
        </p15:guide>
        <p15:guide id="2" pos="438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00FF00"/>
    <a:srgbClr val="FF00FF"/>
    <a:srgbClr val="000000"/>
    <a:srgbClr val="F3D9DC"/>
    <a:srgbClr val="EFCCCF"/>
    <a:srgbClr val="FFFFFF"/>
    <a:srgbClr val="F7E7E9"/>
    <a:srgbClr val="B0C2E5"/>
    <a:srgbClr val="7191D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696" autoAdjust="0"/>
    <p:restoredTop sz="96327" autoAdjust="0"/>
  </p:normalViewPr>
  <p:slideViewPr>
    <p:cSldViewPr snapToGrid="0">
      <p:cViewPr varScale="1">
        <p:scale>
          <a:sx n="104" d="100"/>
          <a:sy n="104" d="100"/>
        </p:scale>
        <p:origin x="294" y="132"/>
      </p:cViewPr>
      <p:guideLst>
        <p:guide orient="horz" pos="867"/>
        <p:guide pos="438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slide" Target="slides/slide36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slide" Target="slides/slide39.xml"/><Relationship Id="rId47" Type="http://schemas.openxmlformats.org/officeDocument/2006/relationships/notesMaster" Target="notesMasters/notesMaster1.xml"/><Relationship Id="rId50" Type="http://schemas.openxmlformats.org/officeDocument/2006/relationships/font" Target="fonts/font3.fntdata"/><Relationship Id="rId55" Type="http://schemas.openxmlformats.org/officeDocument/2006/relationships/presProps" Target="presProps.xml"/><Relationship Id="rId7" Type="http://schemas.openxmlformats.org/officeDocument/2006/relationships/slide" Target="slides/slide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9" Type="http://schemas.openxmlformats.org/officeDocument/2006/relationships/slide" Target="slides/slide26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slide" Target="slides/slide37.xml"/><Relationship Id="rId45" Type="http://schemas.openxmlformats.org/officeDocument/2006/relationships/slide" Target="slides/slide42.xml"/><Relationship Id="rId53" Type="http://schemas.openxmlformats.org/officeDocument/2006/relationships/font" Target="fonts/font6.fntdata"/><Relationship Id="rId58" Type="http://schemas.openxmlformats.org/officeDocument/2006/relationships/tableStyles" Target="tableStyles.xml"/><Relationship Id="rId5" Type="http://schemas.openxmlformats.org/officeDocument/2006/relationships/slide" Target="slides/slide2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slide" Target="slides/slide40.xml"/><Relationship Id="rId48" Type="http://schemas.openxmlformats.org/officeDocument/2006/relationships/font" Target="fonts/font1.fntdata"/><Relationship Id="rId56" Type="http://schemas.openxmlformats.org/officeDocument/2006/relationships/viewProps" Target="viewProps.xml"/><Relationship Id="rId8" Type="http://schemas.openxmlformats.org/officeDocument/2006/relationships/slide" Target="slides/slide5.xml"/><Relationship Id="rId51" Type="http://schemas.openxmlformats.org/officeDocument/2006/relationships/font" Target="fonts/font4.fntdata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slide" Target="slides/slide43.xml"/><Relationship Id="rId20" Type="http://schemas.openxmlformats.org/officeDocument/2006/relationships/slide" Target="slides/slide17.xml"/><Relationship Id="rId41" Type="http://schemas.openxmlformats.org/officeDocument/2006/relationships/slide" Target="slides/slide38.xml"/><Relationship Id="rId54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49" Type="http://schemas.openxmlformats.org/officeDocument/2006/relationships/font" Target="fonts/font2.fntdata"/><Relationship Id="rId57" Type="http://schemas.openxmlformats.org/officeDocument/2006/relationships/theme" Target="theme/theme1.xml"/><Relationship Id="rId10" Type="http://schemas.openxmlformats.org/officeDocument/2006/relationships/slide" Target="slides/slide7.xml"/><Relationship Id="rId31" Type="http://schemas.openxmlformats.org/officeDocument/2006/relationships/slide" Target="slides/slide28.xml"/><Relationship Id="rId44" Type="http://schemas.openxmlformats.org/officeDocument/2006/relationships/slide" Target="slides/slide41.xml"/><Relationship Id="rId52" Type="http://schemas.openxmlformats.org/officeDocument/2006/relationships/font" Target="fonts/font5.fntdata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7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8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9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0.xlsx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6315185741682282E-2"/>
          <c:y val="2.6417447585936279E-2"/>
          <c:w val="0.76661183243453179"/>
          <c:h val="0.87026380483546251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ZP celkem</c:v>
                </c:pt>
              </c:strCache>
            </c:strRef>
          </c:tx>
          <c:spPr>
            <a:ln w="28575" cap="rnd">
              <a:solidFill>
                <a:srgbClr val="000000"/>
              </a:solidFill>
              <a:round/>
            </a:ln>
            <a:effectLst/>
          </c:spPr>
          <c:marker>
            <c:symbol val="none"/>
          </c:marker>
          <c:cat>
            <c:strRef>
              <c:f>List1!$H$1:$NH$1</c:f>
              <c:strCache>
                <c:ptCount val="365"/>
                <c:pt idx="0">
                  <c:v>26-XII.20</c:v>
                </c:pt>
                <c:pt idx="1">
                  <c:v>27.XII.20</c:v>
                </c:pt>
                <c:pt idx="2">
                  <c:v>28.XII.20</c:v>
                </c:pt>
                <c:pt idx="3">
                  <c:v>29.XII.20</c:v>
                </c:pt>
                <c:pt idx="4">
                  <c:v>30.XII.20</c:v>
                </c:pt>
                <c:pt idx="5">
                  <c:v>31.XII.20</c:v>
                </c:pt>
                <c:pt idx="6">
                  <c:v>1.I.21</c:v>
                </c:pt>
                <c:pt idx="7">
                  <c:v>2.I.21</c:v>
                </c:pt>
                <c:pt idx="8">
                  <c:v>3.I.21</c:v>
                </c:pt>
                <c:pt idx="9">
                  <c:v>4.I.21</c:v>
                </c:pt>
                <c:pt idx="10">
                  <c:v>5.I.21</c:v>
                </c:pt>
                <c:pt idx="11">
                  <c:v>6.I.21</c:v>
                </c:pt>
                <c:pt idx="12">
                  <c:v>7.I.21</c:v>
                </c:pt>
                <c:pt idx="13">
                  <c:v>8.I.21</c:v>
                </c:pt>
                <c:pt idx="14">
                  <c:v>9.I.21</c:v>
                </c:pt>
                <c:pt idx="15">
                  <c:v>10.I.21</c:v>
                </c:pt>
                <c:pt idx="16">
                  <c:v>11.I.21</c:v>
                </c:pt>
                <c:pt idx="17">
                  <c:v>12.I.21</c:v>
                </c:pt>
                <c:pt idx="18">
                  <c:v>13.I.21</c:v>
                </c:pt>
                <c:pt idx="19">
                  <c:v>14.I.21</c:v>
                </c:pt>
                <c:pt idx="20">
                  <c:v>15.I.21</c:v>
                </c:pt>
                <c:pt idx="21">
                  <c:v>16.I.21</c:v>
                </c:pt>
                <c:pt idx="22">
                  <c:v>17.I.21</c:v>
                </c:pt>
                <c:pt idx="23">
                  <c:v>18.I.21</c:v>
                </c:pt>
                <c:pt idx="24">
                  <c:v>19.I.21</c:v>
                </c:pt>
                <c:pt idx="25">
                  <c:v>20.I.21</c:v>
                </c:pt>
                <c:pt idx="26">
                  <c:v>21.I.21</c:v>
                </c:pt>
                <c:pt idx="27">
                  <c:v>22.I.21</c:v>
                </c:pt>
                <c:pt idx="28">
                  <c:v>23.I.21</c:v>
                </c:pt>
                <c:pt idx="29">
                  <c:v>24.I.21</c:v>
                </c:pt>
                <c:pt idx="30">
                  <c:v>25.I.21</c:v>
                </c:pt>
                <c:pt idx="31">
                  <c:v>26.I.21</c:v>
                </c:pt>
                <c:pt idx="32">
                  <c:v>27.I.21</c:v>
                </c:pt>
                <c:pt idx="33">
                  <c:v>28.I.21</c:v>
                </c:pt>
                <c:pt idx="34">
                  <c:v>29.I.21</c:v>
                </c:pt>
                <c:pt idx="35">
                  <c:v>30.I.21</c:v>
                </c:pt>
                <c:pt idx="36">
                  <c:v>31.I.21</c:v>
                </c:pt>
                <c:pt idx="37">
                  <c:v>1.II.21</c:v>
                </c:pt>
                <c:pt idx="38">
                  <c:v>2.II.21</c:v>
                </c:pt>
                <c:pt idx="39">
                  <c:v>3.II.21</c:v>
                </c:pt>
                <c:pt idx="40">
                  <c:v>4.II.21</c:v>
                </c:pt>
                <c:pt idx="41">
                  <c:v>5.II.21</c:v>
                </c:pt>
                <c:pt idx="42">
                  <c:v>6.II.21</c:v>
                </c:pt>
                <c:pt idx="43">
                  <c:v>7.II.21</c:v>
                </c:pt>
                <c:pt idx="44">
                  <c:v>8.II.21</c:v>
                </c:pt>
                <c:pt idx="45">
                  <c:v>9.II.21</c:v>
                </c:pt>
                <c:pt idx="46">
                  <c:v>10.II.21</c:v>
                </c:pt>
                <c:pt idx="47">
                  <c:v>11.II.21</c:v>
                </c:pt>
                <c:pt idx="48">
                  <c:v>12.II.21</c:v>
                </c:pt>
                <c:pt idx="49">
                  <c:v>13.II.21</c:v>
                </c:pt>
                <c:pt idx="50">
                  <c:v>14.II.21</c:v>
                </c:pt>
                <c:pt idx="51">
                  <c:v>15.II.21</c:v>
                </c:pt>
                <c:pt idx="52">
                  <c:v>16.II.21</c:v>
                </c:pt>
                <c:pt idx="53">
                  <c:v>17.II.21</c:v>
                </c:pt>
                <c:pt idx="54">
                  <c:v>18.II.21</c:v>
                </c:pt>
                <c:pt idx="55">
                  <c:v>19.II.21</c:v>
                </c:pt>
                <c:pt idx="56">
                  <c:v>20.II.21</c:v>
                </c:pt>
                <c:pt idx="57">
                  <c:v>21.II.21</c:v>
                </c:pt>
                <c:pt idx="58">
                  <c:v>22.II.21</c:v>
                </c:pt>
                <c:pt idx="59">
                  <c:v>23.II.21</c:v>
                </c:pt>
                <c:pt idx="60">
                  <c:v>24.II.21</c:v>
                </c:pt>
                <c:pt idx="61">
                  <c:v>25.II.21</c:v>
                </c:pt>
                <c:pt idx="62">
                  <c:v>26.II.21</c:v>
                </c:pt>
                <c:pt idx="63">
                  <c:v>27.II.21</c:v>
                </c:pt>
                <c:pt idx="64">
                  <c:v>28.II.21</c:v>
                </c:pt>
                <c:pt idx="65">
                  <c:v>1.III.21</c:v>
                </c:pt>
                <c:pt idx="66">
                  <c:v>2.III.21</c:v>
                </c:pt>
                <c:pt idx="67">
                  <c:v>3.III.21</c:v>
                </c:pt>
                <c:pt idx="68">
                  <c:v>4.III.21</c:v>
                </c:pt>
                <c:pt idx="69">
                  <c:v>5.III.21</c:v>
                </c:pt>
                <c:pt idx="70">
                  <c:v>6.III.21</c:v>
                </c:pt>
                <c:pt idx="71">
                  <c:v>7.III.21</c:v>
                </c:pt>
                <c:pt idx="72">
                  <c:v>8.III.21</c:v>
                </c:pt>
                <c:pt idx="73">
                  <c:v>9.III.21</c:v>
                </c:pt>
                <c:pt idx="74">
                  <c:v>10.III.21</c:v>
                </c:pt>
                <c:pt idx="75">
                  <c:v>11.III.21</c:v>
                </c:pt>
                <c:pt idx="76">
                  <c:v>12.III.21</c:v>
                </c:pt>
                <c:pt idx="77">
                  <c:v>13.III.21</c:v>
                </c:pt>
                <c:pt idx="78">
                  <c:v>14.III.21</c:v>
                </c:pt>
                <c:pt idx="79">
                  <c:v>15.III.21</c:v>
                </c:pt>
                <c:pt idx="80">
                  <c:v>16.III.21</c:v>
                </c:pt>
                <c:pt idx="81">
                  <c:v>17.III.21</c:v>
                </c:pt>
                <c:pt idx="82">
                  <c:v>18.III.21</c:v>
                </c:pt>
                <c:pt idx="83">
                  <c:v>19.III.21</c:v>
                </c:pt>
                <c:pt idx="84">
                  <c:v>20.III.21</c:v>
                </c:pt>
                <c:pt idx="85">
                  <c:v>21.III.21</c:v>
                </c:pt>
                <c:pt idx="86">
                  <c:v>22.III.21</c:v>
                </c:pt>
                <c:pt idx="87">
                  <c:v>23.III.21</c:v>
                </c:pt>
                <c:pt idx="88">
                  <c:v>24.III.21</c:v>
                </c:pt>
                <c:pt idx="89">
                  <c:v>25.III.21</c:v>
                </c:pt>
                <c:pt idx="90">
                  <c:v>26.III.21</c:v>
                </c:pt>
                <c:pt idx="91">
                  <c:v>27.III.21</c:v>
                </c:pt>
                <c:pt idx="92">
                  <c:v>28.III.21</c:v>
                </c:pt>
                <c:pt idx="93">
                  <c:v>29.III.21</c:v>
                </c:pt>
                <c:pt idx="94">
                  <c:v>30.III.21</c:v>
                </c:pt>
                <c:pt idx="95">
                  <c:v>31.III.21</c:v>
                </c:pt>
                <c:pt idx="96">
                  <c:v>1.IV.21</c:v>
                </c:pt>
                <c:pt idx="97">
                  <c:v>2.IV.21</c:v>
                </c:pt>
                <c:pt idx="98">
                  <c:v>3.IV.21</c:v>
                </c:pt>
                <c:pt idx="99">
                  <c:v>4.IV.21</c:v>
                </c:pt>
                <c:pt idx="100">
                  <c:v>5.IV.21</c:v>
                </c:pt>
                <c:pt idx="101">
                  <c:v>6.IV.21</c:v>
                </c:pt>
                <c:pt idx="102">
                  <c:v>7.IV.21</c:v>
                </c:pt>
                <c:pt idx="103">
                  <c:v>8.IV.21</c:v>
                </c:pt>
                <c:pt idx="104">
                  <c:v>9.IV.21</c:v>
                </c:pt>
                <c:pt idx="105">
                  <c:v>10.IV.21</c:v>
                </c:pt>
                <c:pt idx="106">
                  <c:v>11.IV.21</c:v>
                </c:pt>
                <c:pt idx="107">
                  <c:v>12.IV.21</c:v>
                </c:pt>
                <c:pt idx="108">
                  <c:v>13.IV.21</c:v>
                </c:pt>
                <c:pt idx="109">
                  <c:v>14.IV.21</c:v>
                </c:pt>
                <c:pt idx="110">
                  <c:v>15.IV.21</c:v>
                </c:pt>
                <c:pt idx="111">
                  <c:v>16.IV.21</c:v>
                </c:pt>
                <c:pt idx="112">
                  <c:v>17.IV.21</c:v>
                </c:pt>
                <c:pt idx="113">
                  <c:v>18.IV.21</c:v>
                </c:pt>
                <c:pt idx="114">
                  <c:v>19.IV.21</c:v>
                </c:pt>
                <c:pt idx="115">
                  <c:v>20.IV.21</c:v>
                </c:pt>
                <c:pt idx="116">
                  <c:v>21.IV.21</c:v>
                </c:pt>
                <c:pt idx="117">
                  <c:v>22.IV.21</c:v>
                </c:pt>
                <c:pt idx="118">
                  <c:v>23.IV.21</c:v>
                </c:pt>
                <c:pt idx="119">
                  <c:v>24.IV.21</c:v>
                </c:pt>
                <c:pt idx="120">
                  <c:v>25.IV.21</c:v>
                </c:pt>
                <c:pt idx="121">
                  <c:v>26.IV.21</c:v>
                </c:pt>
                <c:pt idx="122">
                  <c:v>27.IV.21</c:v>
                </c:pt>
                <c:pt idx="123">
                  <c:v>28.IV.21</c:v>
                </c:pt>
                <c:pt idx="124">
                  <c:v>29.IV.21</c:v>
                </c:pt>
                <c:pt idx="125">
                  <c:v>30.IV.21</c:v>
                </c:pt>
                <c:pt idx="126">
                  <c:v>1.V.21</c:v>
                </c:pt>
                <c:pt idx="127">
                  <c:v>2.V.21</c:v>
                </c:pt>
                <c:pt idx="128">
                  <c:v>3.V.21</c:v>
                </c:pt>
                <c:pt idx="129">
                  <c:v>4.V.21</c:v>
                </c:pt>
                <c:pt idx="130">
                  <c:v>5.V.21</c:v>
                </c:pt>
                <c:pt idx="131">
                  <c:v>6.V.21</c:v>
                </c:pt>
                <c:pt idx="132">
                  <c:v>7.V.21</c:v>
                </c:pt>
                <c:pt idx="133">
                  <c:v>8.V.21</c:v>
                </c:pt>
                <c:pt idx="134">
                  <c:v>9.V.21</c:v>
                </c:pt>
                <c:pt idx="135">
                  <c:v>10.V.21</c:v>
                </c:pt>
                <c:pt idx="136">
                  <c:v>11.V.21</c:v>
                </c:pt>
                <c:pt idx="137">
                  <c:v>12.V.21</c:v>
                </c:pt>
                <c:pt idx="138">
                  <c:v>13.V.21</c:v>
                </c:pt>
                <c:pt idx="139">
                  <c:v>14.V.21</c:v>
                </c:pt>
                <c:pt idx="140">
                  <c:v>15.V.21</c:v>
                </c:pt>
                <c:pt idx="141">
                  <c:v>16.V.21</c:v>
                </c:pt>
                <c:pt idx="142">
                  <c:v>17.V.21</c:v>
                </c:pt>
                <c:pt idx="143">
                  <c:v>18.V.21</c:v>
                </c:pt>
                <c:pt idx="144">
                  <c:v>19.V.21</c:v>
                </c:pt>
                <c:pt idx="145">
                  <c:v>20.V.21</c:v>
                </c:pt>
                <c:pt idx="146">
                  <c:v>21.V.21</c:v>
                </c:pt>
                <c:pt idx="147">
                  <c:v>22.V.21</c:v>
                </c:pt>
                <c:pt idx="148">
                  <c:v>23.V.21</c:v>
                </c:pt>
                <c:pt idx="149">
                  <c:v>24.V.21</c:v>
                </c:pt>
                <c:pt idx="150">
                  <c:v>25.V.21</c:v>
                </c:pt>
                <c:pt idx="151">
                  <c:v>26.V.21</c:v>
                </c:pt>
                <c:pt idx="152">
                  <c:v>27.V.21</c:v>
                </c:pt>
                <c:pt idx="153">
                  <c:v>28.V.21</c:v>
                </c:pt>
                <c:pt idx="154">
                  <c:v>29.V.21</c:v>
                </c:pt>
                <c:pt idx="155">
                  <c:v>30.V.21</c:v>
                </c:pt>
                <c:pt idx="156">
                  <c:v>31.V.21</c:v>
                </c:pt>
                <c:pt idx="157">
                  <c:v>1.VI.21</c:v>
                </c:pt>
                <c:pt idx="158">
                  <c:v>2.VI.21</c:v>
                </c:pt>
                <c:pt idx="159">
                  <c:v>3.VI.21</c:v>
                </c:pt>
                <c:pt idx="160">
                  <c:v>4.VI.21</c:v>
                </c:pt>
                <c:pt idx="161">
                  <c:v>5.VI.21</c:v>
                </c:pt>
                <c:pt idx="162">
                  <c:v>6.VI.21</c:v>
                </c:pt>
                <c:pt idx="163">
                  <c:v>7.VI.21</c:v>
                </c:pt>
                <c:pt idx="164">
                  <c:v>8.VI.21</c:v>
                </c:pt>
                <c:pt idx="165">
                  <c:v>9.VI.21</c:v>
                </c:pt>
                <c:pt idx="166">
                  <c:v>10.VI.21</c:v>
                </c:pt>
                <c:pt idx="167">
                  <c:v>11.VI.21</c:v>
                </c:pt>
                <c:pt idx="168">
                  <c:v>12.VI.21</c:v>
                </c:pt>
                <c:pt idx="169">
                  <c:v>13.VI.21</c:v>
                </c:pt>
                <c:pt idx="170">
                  <c:v>14.VI.21</c:v>
                </c:pt>
                <c:pt idx="171">
                  <c:v>15.VI.21</c:v>
                </c:pt>
                <c:pt idx="172">
                  <c:v>16.VI.21</c:v>
                </c:pt>
                <c:pt idx="173">
                  <c:v>17.VI.21</c:v>
                </c:pt>
                <c:pt idx="174">
                  <c:v>18.VI.21</c:v>
                </c:pt>
                <c:pt idx="175">
                  <c:v>19.VI.21</c:v>
                </c:pt>
                <c:pt idx="176">
                  <c:v>20.VI.21</c:v>
                </c:pt>
                <c:pt idx="177">
                  <c:v>21.VI.21</c:v>
                </c:pt>
                <c:pt idx="178">
                  <c:v>22.VI.21</c:v>
                </c:pt>
                <c:pt idx="179">
                  <c:v>23.VI.21</c:v>
                </c:pt>
                <c:pt idx="180">
                  <c:v>24.VI.21</c:v>
                </c:pt>
                <c:pt idx="181">
                  <c:v>25.VI.21</c:v>
                </c:pt>
                <c:pt idx="182">
                  <c:v>26.VI.21</c:v>
                </c:pt>
                <c:pt idx="183">
                  <c:v>27.VI.21</c:v>
                </c:pt>
                <c:pt idx="184">
                  <c:v>28.VI.21</c:v>
                </c:pt>
                <c:pt idx="185">
                  <c:v>29.VI.21</c:v>
                </c:pt>
                <c:pt idx="186">
                  <c:v>30.VI.21</c:v>
                </c:pt>
                <c:pt idx="187">
                  <c:v>1.VII.21</c:v>
                </c:pt>
                <c:pt idx="188">
                  <c:v>2.VII.21</c:v>
                </c:pt>
                <c:pt idx="189">
                  <c:v>3.VII.21</c:v>
                </c:pt>
                <c:pt idx="190">
                  <c:v>4.VII.21</c:v>
                </c:pt>
                <c:pt idx="191">
                  <c:v>5.VII.21</c:v>
                </c:pt>
                <c:pt idx="192">
                  <c:v>6.VII.21</c:v>
                </c:pt>
                <c:pt idx="193">
                  <c:v>7.VII.21</c:v>
                </c:pt>
                <c:pt idx="194">
                  <c:v>8.VII.21</c:v>
                </c:pt>
                <c:pt idx="195">
                  <c:v>9.VII.21</c:v>
                </c:pt>
                <c:pt idx="196">
                  <c:v>10.VII.21</c:v>
                </c:pt>
                <c:pt idx="197">
                  <c:v>11.VII.21</c:v>
                </c:pt>
                <c:pt idx="198">
                  <c:v>12.VII.21</c:v>
                </c:pt>
                <c:pt idx="199">
                  <c:v>13.VII.21</c:v>
                </c:pt>
                <c:pt idx="200">
                  <c:v>14.VII.21</c:v>
                </c:pt>
                <c:pt idx="201">
                  <c:v>15.VII.21</c:v>
                </c:pt>
                <c:pt idx="202">
                  <c:v>16.VII.21</c:v>
                </c:pt>
                <c:pt idx="203">
                  <c:v>17.VII.21</c:v>
                </c:pt>
                <c:pt idx="204">
                  <c:v>18.VII.21</c:v>
                </c:pt>
                <c:pt idx="205">
                  <c:v>19.VII.21</c:v>
                </c:pt>
                <c:pt idx="206">
                  <c:v>20.VII.21</c:v>
                </c:pt>
                <c:pt idx="207">
                  <c:v>21.VII.21</c:v>
                </c:pt>
                <c:pt idx="208">
                  <c:v>22.VII.21</c:v>
                </c:pt>
                <c:pt idx="209">
                  <c:v>23.VII.21</c:v>
                </c:pt>
                <c:pt idx="210">
                  <c:v>24.VII.21</c:v>
                </c:pt>
                <c:pt idx="211">
                  <c:v>25.VII.21</c:v>
                </c:pt>
                <c:pt idx="212">
                  <c:v>26.VII.21</c:v>
                </c:pt>
                <c:pt idx="213">
                  <c:v>27.VII.21</c:v>
                </c:pt>
                <c:pt idx="214">
                  <c:v>28.VII.21</c:v>
                </c:pt>
                <c:pt idx="215">
                  <c:v>29.VII.21</c:v>
                </c:pt>
                <c:pt idx="216">
                  <c:v>30.VII.21</c:v>
                </c:pt>
                <c:pt idx="217">
                  <c:v>31.VII.21</c:v>
                </c:pt>
                <c:pt idx="218">
                  <c:v>1.VIII.21</c:v>
                </c:pt>
                <c:pt idx="219">
                  <c:v>2.VIII.21</c:v>
                </c:pt>
                <c:pt idx="220">
                  <c:v>3.VIII.21</c:v>
                </c:pt>
                <c:pt idx="221">
                  <c:v>4.VIII.21</c:v>
                </c:pt>
                <c:pt idx="222">
                  <c:v>5.VIII.21</c:v>
                </c:pt>
                <c:pt idx="223">
                  <c:v>6.VIII.21</c:v>
                </c:pt>
                <c:pt idx="224">
                  <c:v>7.VIII.21</c:v>
                </c:pt>
                <c:pt idx="225">
                  <c:v>8.VIII.21</c:v>
                </c:pt>
                <c:pt idx="226">
                  <c:v>9.VIII.21</c:v>
                </c:pt>
                <c:pt idx="227">
                  <c:v>10.VIII.21</c:v>
                </c:pt>
                <c:pt idx="228">
                  <c:v>11.VIII.21</c:v>
                </c:pt>
                <c:pt idx="229">
                  <c:v>12.VIII.21</c:v>
                </c:pt>
                <c:pt idx="230">
                  <c:v>13.VIII.21</c:v>
                </c:pt>
                <c:pt idx="231">
                  <c:v>14.VIII.21</c:v>
                </c:pt>
                <c:pt idx="232">
                  <c:v>15.VIII.21</c:v>
                </c:pt>
                <c:pt idx="233">
                  <c:v>16.VIII.21</c:v>
                </c:pt>
                <c:pt idx="234">
                  <c:v>17.VIII.21</c:v>
                </c:pt>
                <c:pt idx="235">
                  <c:v>18.VIII.21</c:v>
                </c:pt>
                <c:pt idx="236">
                  <c:v>19.VIII.21</c:v>
                </c:pt>
                <c:pt idx="237">
                  <c:v>20.VIII.21</c:v>
                </c:pt>
                <c:pt idx="238">
                  <c:v>21.VIII.21</c:v>
                </c:pt>
                <c:pt idx="239">
                  <c:v>22.VIII.21</c:v>
                </c:pt>
                <c:pt idx="240">
                  <c:v>23.VIII.21</c:v>
                </c:pt>
                <c:pt idx="241">
                  <c:v>24.VIII.21</c:v>
                </c:pt>
                <c:pt idx="242">
                  <c:v>25.VIII.21</c:v>
                </c:pt>
                <c:pt idx="243">
                  <c:v>26.VIII.21</c:v>
                </c:pt>
                <c:pt idx="244">
                  <c:v>27.VIII.21</c:v>
                </c:pt>
                <c:pt idx="245">
                  <c:v>28.VIII.21</c:v>
                </c:pt>
                <c:pt idx="246">
                  <c:v>29.VIII.21</c:v>
                </c:pt>
                <c:pt idx="247">
                  <c:v>30.VIII.21</c:v>
                </c:pt>
                <c:pt idx="248">
                  <c:v>31.VIII.21</c:v>
                </c:pt>
                <c:pt idx="249">
                  <c:v>1.IX.21</c:v>
                </c:pt>
                <c:pt idx="250">
                  <c:v>2.IX.21</c:v>
                </c:pt>
                <c:pt idx="251">
                  <c:v>3.IX.21</c:v>
                </c:pt>
                <c:pt idx="252">
                  <c:v>4.IX.21</c:v>
                </c:pt>
                <c:pt idx="253">
                  <c:v>5.IX.21</c:v>
                </c:pt>
                <c:pt idx="254">
                  <c:v>6.IX.21</c:v>
                </c:pt>
                <c:pt idx="255">
                  <c:v>7.IX.21</c:v>
                </c:pt>
                <c:pt idx="256">
                  <c:v>8.IX.21</c:v>
                </c:pt>
                <c:pt idx="257">
                  <c:v>9.IX.21</c:v>
                </c:pt>
                <c:pt idx="258">
                  <c:v>10.IX.21</c:v>
                </c:pt>
                <c:pt idx="259">
                  <c:v>11.IX.21</c:v>
                </c:pt>
                <c:pt idx="260">
                  <c:v>12.IX.21</c:v>
                </c:pt>
                <c:pt idx="261">
                  <c:v>13.IX.21</c:v>
                </c:pt>
                <c:pt idx="262">
                  <c:v>14.IX.21</c:v>
                </c:pt>
                <c:pt idx="263">
                  <c:v>15.IX.21</c:v>
                </c:pt>
                <c:pt idx="264">
                  <c:v>16.IX.21</c:v>
                </c:pt>
                <c:pt idx="265">
                  <c:v>17.IX.21</c:v>
                </c:pt>
                <c:pt idx="266">
                  <c:v>18.IX.21</c:v>
                </c:pt>
                <c:pt idx="267">
                  <c:v>19.IX.21</c:v>
                </c:pt>
                <c:pt idx="268">
                  <c:v>20.IX.21</c:v>
                </c:pt>
                <c:pt idx="269">
                  <c:v>21.IX.21</c:v>
                </c:pt>
                <c:pt idx="270">
                  <c:v>22.IX.21</c:v>
                </c:pt>
                <c:pt idx="271">
                  <c:v>23.IX.21</c:v>
                </c:pt>
                <c:pt idx="272">
                  <c:v>24.IX.21</c:v>
                </c:pt>
                <c:pt idx="273">
                  <c:v>25.IX.21</c:v>
                </c:pt>
                <c:pt idx="274">
                  <c:v>26.IX.21</c:v>
                </c:pt>
                <c:pt idx="275">
                  <c:v>27.IX.21</c:v>
                </c:pt>
                <c:pt idx="276">
                  <c:v>28.IX.21</c:v>
                </c:pt>
                <c:pt idx="277">
                  <c:v>29.IX.21</c:v>
                </c:pt>
                <c:pt idx="278">
                  <c:v>30.IX.21</c:v>
                </c:pt>
                <c:pt idx="279">
                  <c:v>1.X.21</c:v>
                </c:pt>
                <c:pt idx="280">
                  <c:v>2.X.21</c:v>
                </c:pt>
                <c:pt idx="281">
                  <c:v>3.X.21</c:v>
                </c:pt>
                <c:pt idx="282">
                  <c:v>4.X.21</c:v>
                </c:pt>
                <c:pt idx="283">
                  <c:v>5.X.21</c:v>
                </c:pt>
                <c:pt idx="284">
                  <c:v>6.X.21</c:v>
                </c:pt>
                <c:pt idx="285">
                  <c:v>7.X.21</c:v>
                </c:pt>
                <c:pt idx="286">
                  <c:v>8.X.21</c:v>
                </c:pt>
                <c:pt idx="287">
                  <c:v>9.X.21</c:v>
                </c:pt>
                <c:pt idx="288">
                  <c:v>10.X.21</c:v>
                </c:pt>
                <c:pt idx="289">
                  <c:v>11.X.21</c:v>
                </c:pt>
                <c:pt idx="290">
                  <c:v>12.X.21</c:v>
                </c:pt>
                <c:pt idx="291">
                  <c:v>13.X.21</c:v>
                </c:pt>
                <c:pt idx="292">
                  <c:v>14.X.21</c:v>
                </c:pt>
                <c:pt idx="293">
                  <c:v>15.X.21</c:v>
                </c:pt>
                <c:pt idx="294">
                  <c:v>16.X.21</c:v>
                </c:pt>
                <c:pt idx="295">
                  <c:v>17.X.21</c:v>
                </c:pt>
                <c:pt idx="296">
                  <c:v>18.X.21</c:v>
                </c:pt>
                <c:pt idx="297">
                  <c:v>19.X.21</c:v>
                </c:pt>
                <c:pt idx="298">
                  <c:v>20.X.21</c:v>
                </c:pt>
                <c:pt idx="299">
                  <c:v>21.X.21</c:v>
                </c:pt>
                <c:pt idx="300">
                  <c:v>22.X.21</c:v>
                </c:pt>
                <c:pt idx="301">
                  <c:v>23.X.21</c:v>
                </c:pt>
                <c:pt idx="302">
                  <c:v>24.X.21</c:v>
                </c:pt>
                <c:pt idx="303">
                  <c:v>25.X.21</c:v>
                </c:pt>
                <c:pt idx="304">
                  <c:v>26.X.21</c:v>
                </c:pt>
                <c:pt idx="305">
                  <c:v>27.X.21</c:v>
                </c:pt>
                <c:pt idx="306">
                  <c:v>28.X.21</c:v>
                </c:pt>
                <c:pt idx="307">
                  <c:v>29.X.21</c:v>
                </c:pt>
                <c:pt idx="308">
                  <c:v>30.X.21</c:v>
                </c:pt>
                <c:pt idx="309">
                  <c:v>31.X.21</c:v>
                </c:pt>
                <c:pt idx="310">
                  <c:v>1.XI.21</c:v>
                </c:pt>
                <c:pt idx="311">
                  <c:v>2.XI.21</c:v>
                </c:pt>
                <c:pt idx="312">
                  <c:v>3.XI.21</c:v>
                </c:pt>
                <c:pt idx="313">
                  <c:v>4.XI.21</c:v>
                </c:pt>
                <c:pt idx="314">
                  <c:v>5.XI.21</c:v>
                </c:pt>
                <c:pt idx="315">
                  <c:v>6.XI.21</c:v>
                </c:pt>
                <c:pt idx="316">
                  <c:v>7.XI.21</c:v>
                </c:pt>
                <c:pt idx="317">
                  <c:v>8.XI.21</c:v>
                </c:pt>
                <c:pt idx="318">
                  <c:v>9.XI.21</c:v>
                </c:pt>
                <c:pt idx="319">
                  <c:v>10.XI.21</c:v>
                </c:pt>
                <c:pt idx="320">
                  <c:v>11.XI.21</c:v>
                </c:pt>
                <c:pt idx="321">
                  <c:v>12.XI.21</c:v>
                </c:pt>
                <c:pt idx="322">
                  <c:v>13.XI.21</c:v>
                </c:pt>
                <c:pt idx="323">
                  <c:v>14.XI.21</c:v>
                </c:pt>
                <c:pt idx="324">
                  <c:v>15.XI.21</c:v>
                </c:pt>
                <c:pt idx="325">
                  <c:v>16.XI.21</c:v>
                </c:pt>
                <c:pt idx="326">
                  <c:v>17.XI.21</c:v>
                </c:pt>
                <c:pt idx="327">
                  <c:v>18.XI.21</c:v>
                </c:pt>
                <c:pt idx="328">
                  <c:v>19.XI.21</c:v>
                </c:pt>
                <c:pt idx="329">
                  <c:v>20.XI.21</c:v>
                </c:pt>
                <c:pt idx="330">
                  <c:v>21.XI.21</c:v>
                </c:pt>
                <c:pt idx="331">
                  <c:v>22.XI.21</c:v>
                </c:pt>
                <c:pt idx="332">
                  <c:v>23.XI.21</c:v>
                </c:pt>
                <c:pt idx="333">
                  <c:v>24.XI.21</c:v>
                </c:pt>
                <c:pt idx="334">
                  <c:v>25.XI.21</c:v>
                </c:pt>
                <c:pt idx="335">
                  <c:v>26.XI.21</c:v>
                </c:pt>
                <c:pt idx="336">
                  <c:v>27.XI.21</c:v>
                </c:pt>
                <c:pt idx="337">
                  <c:v>28.XI.21</c:v>
                </c:pt>
                <c:pt idx="338">
                  <c:v>29.XI.21</c:v>
                </c:pt>
                <c:pt idx="339">
                  <c:v>30.XI.21</c:v>
                </c:pt>
                <c:pt idx="340">
                  <c:v>1.XII.21</c:v>
                </c:pt>
                <c:pt idx="341">
                  <c:v>2.XII.21</c:v>
                </c:pt>
                <c:pt idx="342">
                  <c:v>3.XII.21</c:v>
                </c:pt>
                <c:pt idx="343">
                  <c:v>4.XII.21</c:v>
                </c:pt>
                <c:pt idx="344">
                  <c:v>5.XII.21</c:v>
                </c:pt>
                <c:pt idx="345">
                  <c:v>6.XII.21</c:v>
                </c:pt>
                <c:pt idx="346">
                  <c:v>7.XII.21</c:v>
                </c:pt>
                <c:pt idx="347">
                  <c:v>8.XII.21</c:v>
                </c:pt>
                <c:pt idx="348">
                  <c:v>9.XII.21</c:v>
                </c:pt>
                <c:pt idx="349">
                  <c:v>10.XII.21</c:v>
                </c:pt>
                <c:pt idx="350">
                  <c:v>11.XII.21</c:v>
                </c:pt>
                <c:pt idx="351">
                  <c:v>12.XII.21</c:v>
                </c:pt>
                <c:pt idx="352">
                  <c:v>13.XII.21</c:v>
                </c:pt>
                <c:pt idx="353">
                  <c:v>14.XII.21</c:v>
                </c:pt>
                <c:pt idx="354">
                  <c:v>15.XII.21</c:v>
                </c:pt>
                <c:pt idx="355">
                  <c:v>16.XII.21</c:v>
                </c:pt>
                <c:pt idx="356">
                  <c:v>17.XII.21</c:v>
                </c:pt>
                <c:pt idx="357">
                  <c:v>18.XII.21</c:v>
                </c:pt>
                <c:pt idx="358">
                  <c:v>19.XII.21</c:v>
                </c:pt>
                <c:pt idx="359">
                  <c:v>20.XII.21</c:v>
                </c:pt>
                <c:pt idx="360">
                  <c:v>21.XII.21</c:v>
                </c:pt>
                <c:pt idx="361">
                  <c:v>22.XII.21</c:v>
                </c:pt>
                <c:pt idx="362">
                  <c:v>23.XII.21</c:v>
                </c:pt>
                <c:pt idx="363">
                  <c:v>24.XII.21</c:v>
                </c:pt>
                <c:pt idx="364">
                  <c:v>25.XII.21</c:v>
                </c:pt>
              </c:strCache>
            </c:strRef>
          </c:cat>
          <c:val>
            <c:numRef>
              <c:f>List1!$H$2:$NH$2</c:f>
              <c:numCache>
                <c:formatCode>General</c:formatCode>
                <c:ptCount val="365"/>
                <c:pt idx="1">
                  <c:v>1051</c:v>
                </c:pt>
                <c:pt idx="2">
                  <c:v>2944</c:v>
                </c:pt>
                <c:pt idx="3">
                  <c:v>5611</c:v>
                </c:pt>
                <c:pt idx="4">
                  <c:v>8314</c:v>
                </c:pt>
                <c:pt idx="5">
                  <c:v>9206</c:v>
                </c:pt>
                <c:pt idx="6">
                  <c:v>9443</c:v>
                </c:pt>
                <c:pt idx="7">
                  <c:v>10604</c:v>
                </c:pt>
                <c:pt idx="8">
                  <c:v>11446</c:v>
                </c:pt>
                <c:pt idx="9">
                  <c:v>14617</c:v>
                </c:pt>
                <c:pt idx="10">
                  <c:v>18539</c:v>
                </c:pt>
                <c:pt idx="11">
                  <c:v>23466</c:v>
                </c:pt>
                <c:pt idx="12">
                  <c:v>29299</c:v>
                </c:pt>
                <c:pt idx="13">
                  <c:v>36088</c:v>
                </c:pt>
                <c:pt idx="14">
                  <c:v>37251</c:v>
                </c:pt>
                <c:pt idx="15">
                  <c:v>38207</c:v>
                </c:pt>
                <c:pt idx="16">
                  <c:v>44622</c:v>
                </c:pt>
                <c:pt idx="17">
                  <c:v>52047</c:v>
                </c:pt>
                <c:pt idx="18">
                  <c:v>58658</c:v>
                </c:pt>
                <c:pt idx="19">
                  <c:v>65641</c:v>
                </c:pt>
                <c:pt idx="20">
                  <c:v>71839</c:v>
                </c:pt>
                <c:pt idx="21">
                  <c:v>72775</c:v>
                </c:pt>
                <c:pt idx="22">
                  <c:v>73323</c:v>
                </c:pt>
                <c:pt idx="23">
                  <c:v>78012</c:v>
                </c:pt>
                <c:pt idx="24">
                  <c:v>81815</c:v>
                </c:pt>
                <c:pt idx="25">
                  <c:v>85533</c:v>
                </c:pt>
                <c:pt idx="26">
                  <c:v>88922</c:v>
                </c:pt>
                <c:pt idx="27">
                  <c:v>91813</c:v>
                </c:pt>
                <c:pt idx="28">
                  <c:v>92203</c:v>
                </c:pt>
                <c:pt idx="29">
                  <c:v>92439</c:v>
                </c:pt>
                <c:pt idx="30">
                  <c:v>94045</c:v>
                </c:pt>
                <c:pt idx="31">
                  <c:v>95814</c:v>
                </c:pt>
                <c:pt idx="32">
                  <c:v>97264</c:v>
                </c:pt>
                <c:pt idx="33">
                  <c:v>98652</c:v>
                </c:pt>
                <c:pt idx="34">
                  <c:v>99931</c:v>
                </c:pt>
                <c:pt idx="35">
                  <c:v>100002</c:v>
                </c:pt>
                <c:pt idx="36">
                  <c:v>100073</c:v>
                </c:pt>
                <c:pt idx="37">
                  <c:v>100968</c:v>
                </c:pt>
                <c:pt idx="38">
                  <c:v>101836</c:v>
                </c:pt>
                <c:pt idx="39">
                  <c:v>102653</c:v>
                </c:pt>
                <c:pt idx="40">
                  <c:v>103363</c:v>
                </c:pt>
                <c:pt idx="41">
                  <c:v>104292</c:v>
                </c:pt>
                <c:pt idx="42">
                  <c:v>104342</c:v>
                </c:pt>
                <c:pt idx="43">
                  <c:v>104393</c:v>
                </c:pt>
                <c:pt idx="44">
                  <c:v>105035</c:v>
                </c:pt>
                <c:pt idx="45">
                  <c:v>105690</c:v>
                </c:pt>
                <c:pt idx="46">
                  <c:v>106555</c:v>
                </c:pt>
                <c:pt idx="47">
                  <c:v>107610</c:v>
                </c:pt>
                <c:pt idx="48">
                  <c:v>108813</c:v>
                </c:pt>
                <c:pt idx="49">
                  <c:v>109197</c:v>
                </c:pt>
                <c:pt idx="50">
                  <c:v>109382</c:v>
                </c:pt>
                <c:pt idx="51">
                  <c:v>110706</c:v>
                </c:pt>
                <c:pt idx="52">
                  <c:v>111999</c:v>
                </c:pt>
                <c:pt idx="53">
                  <c:v>113374</c:v>
                </c:pt>
                <c:pt idx="54">
                  <c:v>114939</c:v>
                </c:pt>
                <c:pt idx="55">
                  <c:v>116798</c:v>
                </c:pt>
                <c:pt idx="56">
                  <c:v>117258</c:v>
                </c:pt>
                <c:pt idx="57">
                  <c:v>117421</c:v>
                </c:pt>
                <c:pt idx="58">
                  <c:v>119015</c:v>
                </c:pt>
                <c:pt idx="59">
                  <c:v>121313</c:v>
                </c:pt>
                <c:pt idx="60">
                  <c:v>123811</c:v>
                </c:pt>
                <c:pt idx="61">
                  <c:v>126840</c:v>
                </c:pt>
                <c:pt idx="62">
                  <c:v>129449</c:v>
                </c:pt>
                <c:pt idx="63">
                  <c:v>129758</c:v>
                </c:pt>
                <c:pt idx="64">
                  <c:v>129978</c:v>
                </c:pt>
                <c:pt idx="65">
                  <c:v>132528</c:v>
                </c:pt>
                <c:pt idx="66">
                  <c:v>135288</c:v>
                </c:pt>
                <c:pt idx="67">
                  <c:v>137954</c:v>
                </c:pt>
                <c:pt idx="68">
                  <c:v>140409</c:v>
                </c:pt>
                <c:pt idx="69">
                  <c:v>143378</c:v>
                </c:pt>
                <c:pt idx="70">
                  <c:v>144082</c:v>
                </c:pt>
                <c:pt idx="71">
                  <c:v>144595</c:v>
                </c:pt>
                <c:pt idx="72">
                  <c:v>146542</c:v>
                </c:pt>
                <c:pt idx="73">
                  <c:v>148687</c:v>
                </c:pt>
                <c:pt idx="74">
                  <c:v>150936</c:v>
                </c:pt>
                <c:pt idx="75">
                  <c:v>153939</c:v>
                </c:pt>
                <c:pt idx="76">
                  <c:v>156559</c:v>
                </c:pt>
                <c:pt idx="77">
                  <c:v>157218</c:v>
                </c:pt>
                <c:pt idx="78">
                  <c:v>157787</c:v>
                </c:pt>
                <c:pt idx="79">
                  <c:v>159377</c:v>
                </c:pt>
                <c:pt idx="80">
                  <c:v>161711</c:v>
                </c:pt>
                <c:pt idx="81">
                  <c:v>164028</c:v>
                </c:pt>
                <c:pt idx="82">
                  <c:v>166056</c:v>
                </c:pt>
                <c:pt idx="83">
                  <c:v>168319</c:v>
                </c:pt>
                <c:pt idx="84">
                  <c:v>169194</c:v>
                </c:pt>
                <c:pt idx="85">
                  <c:v>169642</c:v>
                </c:pt>
                <c:pt idx="86">
                  <c:v>170795</c:v>
                </c:pt>
                <c:pt idx="87">
                  <c:v>172035</c:v>
                </c:pt>
                <c:pt idx="88">
                  <c:v>173104</c:v>
                </c:pt>
                <c:pt idx="89">
                  <c:v>174403</c:v>
                </c:pt>
                <c:pt idx="90">
                  <c:v>175780</c:v>
                </c:pt>
                <c:pt idx="91">
                  <c:v>176155</c:v>
                </c:pt>
                <c:pt idx="92">
                  <c:v>176500</c:v>
                </c:pt>
                <c:pt idx="93">
                  <c:v>177284</c:v>
                </c:pt>
                <c:pt idx="94">
                  <c:v>178313</c:v>
                </c:pt>
                <c:pt idx="95">
                  <c:v>179437</c:v>
                </c:pt>
                <c:pt idx="96">
                  <c:v>180542</c:v>
                </c:pt>
                <c:pt idx="97">
                  <c:v>180810</c:v>
                </c:pt>
                <c:pt idx="98">
                  <c:v>180930</c:v>
                </c:pt>
                <c:pt idx="99">
                  <c:v>181046</c:v>
                </c:pt>
                <c:pt idx="100">
                  <c:v>181118</c:v>
                </c:pt>
                <c:pt idx="101">
                  <c:v>181684</c:v>
                </c:pt>
                <c:pt idx="102">
                  <c:v>182357</c:v>
                </c:pt>
                <c:pt idx="103">
                  <c:v>183604</c:v>
                </c:pt>
                <c:pt idx="104">
                  <c:v>184880</c:v>
                </c:pt>
                <c:pt idx="105">
                  <c:v>185257</c:v>
                </c:pt>
                <c:pt idx="106">
                  <c:v>185506</c:v>
                </c:pt>
                <c:pt idx="107">
                  <c:v>186447</c:v>
                </c:pt>
                <c:pt idx="108">
                  <c:v>187261</c:v>
                </c:pt>
                <c:pt idx="109">
                  <c:v>188206</c:v>
                </c:pt>
                <c:pt idx="110">
                  <c:v>189573</c:v>
                </c:pt>
                <c:pt idx="111">
                  <c:v>191122</c:v>
                </c:pt>
                <c:pt idx="112">
                  <c:v>191543</c:v>
                </c:pt>
                <c:pt idx="113">
                  <c:v>191984</c:v>
                </c:pt>
                <c:pt idx="114">
                  <c:v>193089</c:v>
                </c:pt>
                <c:pt idx="115">
                  <c:v>194138</c:v>
                </c:pt>
                <c:pt idx="116">
                  <c:v>195430</c:v>
                </c:pt>
                <c:pt idx="117">
                  <c:v>196904</c:v>
                </c:pt>
                <c:pt idx="118">
                  <c:v>198421</c:v>
                </c:pt>
                <c:pt idx="119">
                  <c:v>198862</c:v>
                </c:pt>
                <c:pt idx="120">
                  <c:v>199238</c:v>
                </c:pt>
                <c:pt idx="121">
                  <c:v>200439</c:v>
                </c:pt>
                <c:pt idx="122">
                  <c:v>201531</c:v>
                </c:pt>
                <c:pt idx="123">
                  <c:v>202923</c:v>
                </c:pt>
                <c:pt idx="124">
                  <c:v>204399</c:v>
                </c:pt>
                <c:pt idx="125">
                  <c:v>205803</c:v>
                </c:pt>
                <c:pt idx="126">
                  <c:v>206140</c:v>
                </c:pt>
                <c:pt idx="127">
                  <c:v>206479</c:v>
                </c:pt>
                <c:pt idx="128">
                  <c:v>207564</c:v>
                </c:pt>
                <c:pt idx="129">
                  <c:v>208669</c:v>
                </c:pt>
                <c:pt idx="130">
                  <c:v>209817</c:v>
                </c:pt>
                <c:pt idx="131">
                  <c:v>211012</c:v>
                </c:pt>
                <c:pt idx="132">
                  <c:v>212319</c:v>
                </c:pt>
                <c:pt idx="133">
                  <c:v>212822</c:v>
                </c:pt>
                <c:pt idx="134">
                  <c:v>213133</c:v>
                </c:pt>
                <c:pt idx="135">
                  <c:v>214107</c:v>
                </c:pt>
                <c:pt idx="136">
                  <c:v>215135</c:v>
                </c:pt>
                <c:pt idx="137">
                  <c:v>216177</c:v>
                </c:pt>
                <c:pt idx="138">
                  <c:v>217320</c:v>
                </c:pt>
                <c:pt idx="139">
                  <c:v>218325</c:v>
                </c:pt>
                <c:pt idx="140">
                  <c:v>218768</c:v>
                </c:pt>
                <c:pt idx="141">
                  <c:v>219056</c:v>
                </c:pt>
                <c:pt idx="142">
                  <c:v>219845</c:v>
                </c:pt>
                <c:pt idx="143">
                  <c:v>220728</c:v>
                </c:pt>
                <c:pt idx="144">
                  <c:v>221639</c:v>
                </c:pt>
                <c:pt idx="145">
                  <c:v>222576</c:v>
                </c:pt>
                <c:pt idx="146">
                  <c:v>223504</c:v>
                </c:pt>
                <c:pt idx="147">
                  <c:v>223858</c:v>
                </c:pt>
                <c:pt idx="148">
                  <c:v>224087</c:v>
                </c:pt>
                <c:pt idx="149">
                  <c:v>224639</c:v>
                </c:pt>
                <c:pt idx="150">
                  <c:v>225270</c:v>
                </c:pt>
                <c:pt idx="151">
                  <c:v>226125</c:v>
                </c:pt>
                <c:pt idx="152">
                  <c:v>226911</c:v>
                </c:pt>
                <c:pt idx="153">
                  <c:v>227739</c:v>
                </c:pt>
                <c:pt idx="154">
                  <c:v>228106</c:v>
                </c:pt>
                <c:pt idx="155">
                  <c:v>228397</c:v>
                </c:pt>
                <c:pt idx="156">
                  <c:v>229091</c:v>
                </c:pt>
                <c:pt idx="157">
                  <c:v>229816</c:v>
                </c:pt>
                <c:pt idx="158">
                  <c:v>230707</c:v>
                </c:pt>
                <c:pt idx="159">
                  <c:v>231547</c:v>
                </c:pt>
                <c:pt idx="160">
                  <c:v>232436</c:v>
                </c:pt>
                <c:pt idx="161">
                  <c:v>232862</c:v>
                </c:pt>
                <c:pt idx="162">
                  <c:v>233269</c:v>
                </c:pt>
                <c:pt idx="163">
                  <c:v>234166</c:v>
                </c:pt>
                <c:pt idx="164">
                  <c:v>235152</c:v>
                </c:pt>
                <c:pt idx="165">
                  <c:v>236078</c:v>
                </c:pt>
                <c:pt idx="166">
                  <c:v>236957</c:v>
                </c:pt>
                <c:pt idx="167">
                  <c:v>237818</c:v>
                </c:pt>
                <c:pt idx="168">
                  <c:v>238346</c:v>
                </c:pt>
                <c:pt idx="169">
                  <c:v>238721</c:v>
                </c:pt>
                <c:pt idx="170">
                  <c:v>239391</c:v>
                </c:pt>
                <c:pt idx="171">
                  <c:v>240156</c:v>
                </c:pt>
                <c:pt idx="172">
                  <c:v>240861</c:v>
                </c:pt>
                <c:pt idx="173">
                  <c:v>241578</c:v>
                </c:pt>
                <c:pt idx="174">
                  <c:v>242255</c:v>
                </c:pt>
                <c:pt idx="175">
                  <c:v>242590</c:v>
                </c:pt>
                <c:pt idx="176">
                  <c:v>242851</c:v>
                </c:pt>
                <c:pt idx="177">
                  <c:v>243365</c:v>
                </c:pt>
                <c:pt idx="178">
                  <c:v>243955</c:v>
                </c:pt>
                <c:pt idx="179">
                  <c:v>244456</c:v>
                </c:pt>
                <c:pt idx="180">
                  <c:v>244959</c:v>
                </c:pt>
                <c:pt idx="181">
                  <c:v>245461</c:v>
                </c:pt>
                <c:pt idx="182">
                  <c:v>245718</c:v>
                </c:pt>
                <c:pt idx="183">
                  <c:v>245911</c:v>
                </c:pt>
                <c:pt idx="184">
                  <c:v>246409</c:v>
                </c:pt>
                <c:pt idx="185">
                  <c:v>246872</c:v>
                </c:pt>
                <c:pt idx="186">
                  <c:v>247355</c:v>
                </c:pt>
                <c:pt idx="187">
                  <c:v>247719</c:v>
                </c:pt>
                <c:pt idx="188">
                  <c:v>248204</c:v>
                </c:pt>
                <c:pt idx="189">
                  <c:v>248302</c:v>
                </c:pt>
                <c:pt idx="190">
                  <c:v>248419</c:v>
                </c:pt>
                <c:pt idx="191">
                  <c:v>248531</c:v>
                </c:pt>
                <c:pt idx="192">
                  <c:v>248632</c:v>
                </c:pt>
                <c:pt idx="193">
                  <c:v>249047</c:v>
                </c:pt>
                <c:pt idx="194">
                  <c:v>249498</c:v>
                </c:pt>
                <c:pt idx="195">
                  <c:v>249943</c:v>
                </c:pt>
                <c:pt idx="196">
                  <c:v>250111</c:v>
                </c:pt>
                <c:pt idx="197">
                  <c:v>250232</c:v>
                </c:pt>
                <c:pt idx="198">
                  <c:v>250678</c:v>
                </c:pt>
                <c:pt idx="199">
                  <c:v>251127</c:v>
                </c:pt>
                <c:pt idx="200">
                  <c:v>251617</c:v>
                </c:pt>
                <c:pt idx="201">
                  <c:v>252116</c:v>
                </c:pt>
                <c:pt idx="202">
                  <c:v>252606</c:v>
                </c:pt>
                <c:pt idx="203">
                  <c:v>252788</c:v>
                </c:pt>
                <c:pt idx="204">
                  <c:v>252934</c:v>
                </c:pt>
                <c:pt idx="205">
                  <c:v>253357</c:v>
                </c:pt>
                <c:pt idx="206">
                  <c:v>253712</c:v>
                </c:pt>
                <c:pt idx="207">
                  <c:v>254182</c:v>
                </c:pt>
                <c:pt idx="208">
                  <c:v>254579</c:v>
                </c:pt>
                <c:pt idx="209">
                  <c:v>254972</c:v>
                </c:pt>
                <c:pt idx="210">
                  <c:v>255084</c:v>
                </c:pt>
                <c:pt idx="211">
                  <c:v>255174</c:v>
                </c:pt>
                <c:pt idx="212">
                  <c:v>255562</c:v>
                </c:pt>
                <c:pt idx="213">
                  <c:v>255984</c:v>
                </c:pt>
                <c:pt idx="214">
                  <c:v>256346</c:v>
                </c:pt>
                <c:pt idx="215">
                  <c:v>256683</c:v>
                </c:pt>
                <c:pt idx="216">
                  <c:v>257105</c:v>
                </c:pt>
                <c:pt idx="217">
                  <c:v>257227</c:v>
                </c:pt>
                <c:pt idx="218">
                  <c:v>257329</c:v>
                </c:pt>
                <c:pt idx="219">
                  <c:v>257612</c:v>
                </c:pt>
                <c:pt idx="220">
                  <c:v>257880</c:v>
                </c:pt>
                <c:pt idx="221">
                  <c:v>258193</c:v>
                </c:pt>
                <c:pt idx="222">
                  <c:v>258459</c:v>
                </c:pt>
                <c:pt idx="223">
                  <c:v>258741</c:v>
                </c:pt>
                <c:pt idx="224">
                  <c:v>258814</c:v>
                </c:pt>
                <c:pt idx="225">
                  <c:v>258878</c:v>
                </c:pt>
                <c:pt idx="226">
                  <c:v>259089</c:v>
                </c:pt>
                <c:pt idx="227">
                  <c:v>259299</c:v>
                </c:pt>
                <c:pt idx="228">
                  <c:v>259462</c:v>
                </c:pt>
                <c:pt idx="229">
                  <c:v>259696</c:v>
                </c:pt>
                <c:pt idx="230">
                  <c:v>259888</c:v>
                </c:pt>
                <c:pt idx="231">
                  <c:v>259945</c:v>
                </c:pt>
                <c:pt idx="232">
                  <c:v>259991</c:v>
                </c:pt>
                <c:pt idx="233">
                  <c:v>260175</c:v>
                </c:pt>
                <c:pt idx="234">
                  <c:v>260357</c:v>
                </c:pt>
                <c:pt idx="235">
                  <c:v>260525</c:v>
                </c:pt>
                <c:pt idx="236">
                  <c:v>260689</c:v>
                </c:pt>
                <c:pt idx="237">
                  <c:v>260935</c:v>
                </c:pt>
                <c:pt idx="238">
                  <c:v>260977</c:v>
                </c:pt>
                <c:pt idx="239">
                  <c:v>261010</c:v>
                </c:pt>
                <c:pt idx="240">
                  <c:v>261212</c:v>
                </c:pt>
                <c:pt idx="241">
                  <c:v>261403</c:v>
                </c:pt>
                <c:pt idx="242">
                  <c:v>261571</c:v>
                </c:pt>
                <c:pt idx="243">
                  <c:v>261733</c:v>
                </c:pt>
                <c:pt idx="244">
                  <c:v>261952</c:v>
                </c:pt>
                <c:pt idx="245">
                  <c:v>261997</c:v>
                </c:pt>
                <c:pt idx="246">
                  <c:v>262030</c:v>
                </c:pt>
                <c:pt idx="247">
                  <c:v>262202</c:v>
                </c:pt>
                <c:pt idx="248">
                  <c:v>262367</c:v>
                </c:pt>
                <c:pt idx="249">
                  <c:v>262491</c:v>
                </c:pt>
                <c:pt idx="250">
                  <c:v>262667</c:v>
                </c:pt>
                <c:pt idx="251">
                  <c:v>262863</c:v>
                </c:pt>
                <c:pt idx="252">
                  <c:v>262898</c:v>
                </c:pt>
                <c:pt idx="253">
                  <c:v>262931</c:v>
                </c:pt>
                <c:pt idx="254">
                  <c:v>263067</c:v>
                </c:pt>
                <c:pt idx="255">
                  <c:v>263157</c:v>
                </c:pt>
                <c:pt idx="256">
                  <c:v>263281</c:v>
                </c:pt>
                <c:pt idx="257">
                  <c:v>263423</c:v>
                </c:pt>
                <c:pt idx="258">
                  <c:v>263569</c:v>
                </c:pt>
                <c:pt idx="259">
                  <c:v>263604</c:v>
                </c:pt>
                <c:pt idx="260">
                  <c:v>263627</c:v>
                </c:pt>
                <c:pt idx="261">
                  <c:v>263738</c:v>
                </c:pt>
                <c:pt idx="262">
                  <c:v>263870</c:v>
                </c:pt>
                <c:pt idx="263">
                  <c:v>263977</c:v>
                </c:pt>
                <c:pt idx="264">
                  <c:v>264098</c:v>
                </c:pt>
                <c:pt idx="265">
                  <c:v>264263</c:v>
                </c:pt>
                <c:pt idx="266">
                  <c:v>264304</c:v>
                </c:pt>
                <c:pt idx="267">
                  <c:v>264317</c:v>
                </c:pt>
                <c:pt idx="268">
                  <c:v>264419</c:v>
                </c:pt>
                <c:pt idx="269">
                  <c:v>264523</c:v>
                </c:pt>
                <c:pt idx="270">
                  <c:v>264618</c:v>
                </c:pt>
                <c:pt idx="271">
                  <c:v>264752</c:v>
                </c:pt>
                <c:pt idx="272">
                  <c:v>264919</c:v>
                </c:pt>
                <c:pt idx="273">
                  <c:v>264951</c:v>
                </c:pt>
                <c:pt idx="274">
                  <c:v>264961</c:v>
                </c:pt>
                <c:pt idx="275">
                  <c:v>265058</c:v>
                </c:pt>
                <c:pt idx="276">
                  <c:v>265066</c:v>
                </c:pt>
                <c:pt idx="277">
                  <c:v>265151</c:v>
                </c:pt>
                <c:pt idx="278">
                  <c:v>265251</c:v>
                </c:pt>
                <c:pt idx="279">
                  <c:v>265343</c:v>
                </c:pt>
                <c:pt idx="280">
                  <c:v>265364</c:v>
                </c:pt>
                <c:pt idx="281">
                  <c:v>265378</c:v>
                </c:pt>
                <c:pt idx="282">
                  <c:v>265447</c:v>
                </c:pt>
                <c:pt idx="283">
                  <c:v>265530</c:v>
                </c:pt>
                <c:pt idx="284">
                  <c:v>265629</c:v>
                </c:pt>
                <c:pt idx="285">
                  <c:v>265699</c:v>
                </c:pt>
                <c:pt idx="286">
                  <c:v>265812</c:v>
                </c:pt>
                <c:pt idx="287">
                  <c:v>265837</c:v>
                </c:pt>
                <c:pt idx="288">
                  <c:v>265849</c:v>
                </c:pt>
                <c:pt idx="289">
                  <c:v>265926</c:v>
                </c:pt>
                <c:pt idx="290">
                  <c:v>266011</c:v>
                </c:pt>
                <c:pt idx="291">
                  <c:v>266092</c:v>
                </c:pt>
                <c:pt idx="292">
                  <c:v>266160</c:v>
                </c:pt>
                <c:pt idx="293">
                  <c:v>266280</c:v>
                </c:pt>
                <c:pt idx="294">
                  <c:v>266311</c:v>
                </c:pt>
                <c:pt idx="295">
                  <c:v>266341</c:v>
                </c:pt>
                <c:pt idx="296">
                  <c:v>266472</c:v>
                </c:pt>
                <c:pt idx="297">
                  <c:v>266567</c:v>
                </c:pt>
                <c:pt idx="298">
                  <c:v>266699</c:v>
                </c:pt>
                <c:pt idx="299">
                  <c:v>266938</c:v>
                </c:pt>
                <c:pt idx="300">
                  <c:v>267245</c:v>
                </c:pt>
                <c:pt idx="301">
                  <c:v>267328</c:v>
                </c:pt>
                <c:pt idx="302">
                  <c:v>267392</c:v>
                </c:pt>
                <c:pt idx="303">
                  <c:v>267655</c:v>
                </c:pt>
                <c:pt idx="304">
                  <c:v>268017</c:v>
                </c:pt>
                <c:pt idx="305">
                  <c:v>268435</c:v>
                </c:pt>
                <c:pt idx="306">
                  <c:v>268518</c:v>
                </c:pt>
                <c:pt idx="307">
                  <c:v>268897</c:v>
                </c:pt>
                <c:pt idx="308">
                  <c:v>269005</c:v>
                </c:pt>
                <c:pt idx="309">
                  <c:v>269075</c:v>
                </c:pt>
                <c:pt idx="310">
                  <c:v>269491</c:v>
                </c:pt>
                <c:pt idx="311">
                  <c:v>269908</c:v>
                </c:pt>
                <c:pt idx="312">
                  <c:v>270325</c:v>
                </c:pt>
                <c:pt idx="313">
                  <c:v>270825</c:v>
                </c:pt>
                <c:pt idx="314">
                  <c:v>271386</c:v>
                </c:pt>
                <c:pt idx="315">
                  <c:v>271541</c:v>
                </c:pt>
                <c:pt idx="316">
                  <c:v>271638</c:v>
                </c:pt>
                <c:pt idx="317">
                  <c:v>272038</c:v>
                </c:pt>
                <c:pt idx="318">
                  <c:v>272378</c:v>
                </c:pt>
                <c:pt idx="319">
                  <c:v>272763</c:v>
                </c:pt>
                <c:pt idx="320">
                  <c:v>273163</c:v>
                </c:pt>
                <c:pt idx="321">
                  <c:v>273698</c:v>
                </c:pt>
                <c:pt idx="322">
                  <c:v>273822</c:v>
                </c:pt>
                <c:pt idx="323">
                  <c:v>273908</c:v>
                </c:pt>
                <c:pt idx="324">
                  <c:v>274329</c:v>
                </c:pt>
                <c:pt idx="325">
                  <c:v>274800</c:v>
                </c:pt>
                <c:pt idx="326">
                  <c:v>274905</c:v>
                </c:pt>
                <c:pt idx="327">
                  <c:v>275412</c:v>
                </c:pt>
                <c:pt idx="328">
                  <c:v>276037</c:v>
                </c:pt>
                <c:pt idx="329">
                  <c:v>276233</c:v>
                </c:pt>
                <c:pt idx="330">
                  <c:v>276375</c:v>
                </c:pt>
                <c:pt idx="331">
                  <c:v>276794</c:v>
                </c:pt>
                <c:pt idx="332">
                  <c:v>277218</c:v>
                </c:pt>
                <c:pt idx="333">
                  <c:v>277682</c:v>
                </c:pt>
                <c:pt idx="334">
                  <c:v>278160</c:v>
                </c:pt>
                <c:pt idx="335">
                  <c:v>278678</c:v>
                </c:pt>
                <c:pt idx="336">
                  <c:v>278827</c:v>
                </c:pt>
                <c:pt idx="337">
                  <c:v>278877</c:v>
                </c:pt>
                <c:pt idx="338">
                  <c:v>279225</c:v>
                </c:pt>
                <c:pt idx="339">
                  <c:v>279557</c:v>
                </c:pt>
                <c:pt idx="340">
                  <c:v>279905</c:v>
                </c:pt>
                <c:pt idx="341">
                  <c:v>280156</c:v>
                </c:pt>
                <c:pt idx="342">
                  <c:v>280416</c:v>
                </c:pt>
                <c:pt idx="343">
                  <c:v>280467</c:v>
                </c:pt>
                <c:pt idx="344">
                  <c:v>280487</c:v>
                </c:pt>
                <c:pt idx="345">
                  <c:v>280679</c:v>
                </c:pt>
                <c:pt idx="346">
                  <c:v>280855</c:v>
                </c:pt>
                <c:pt idx="347">
                  <c:v>281065</c:v>
                </c:pt>
                <c:pt idx="348">
                  <c:v>281235</c:v>
                </c:pt>
                <c:pt idx="349">
                  <c:v>281422</c:v>
                </c:pt>
                <c:pt idx="350">
                  <c:v>281459</c:v>
                </c:pt>
                <c:pt idx="351">
                  <c:v>281486</c:v>
                </c:pt>
                <c:pt idx="352">
                  <c:v>281659</c:v>
                </c:pt>
                <c:pt idx="353">
                  <c:v>281806</c:v>
                </c:pt>
                <c:pt idx="354">
                  <c:v>281945</c:v>
                </c:pt>
                <c:pt idx="355">
                  <c:v>282116</c:v>
                </c:pt>
                <c:pt idx="356">
                  <c:v>282307</c:v>
                </c:pt>
                <c:pt idx="357">
                  <c:v>282362</c:v>
                </c:pt>
                <c:pt idx="358">
                  <c:v>282376</c:v>
                </c:pt>
                <c:pt idx="359">
                  <c:v>282497</c:v>
                </c:pt>
                <c:pt idx="360">
                  <c:v>282602</c:v>
                </c:pt>
                <c:pt idx="361">
                  <c:v>282695</c:v>
                </c:pt>
                <c:pt idx="362">
                  <c:v>282727</c:v>
                </c:pt>
                <c:pt idx="363">
                  <c:v>282727</c:v>
                </c:pt>
                <c:pt idx="364">
                  <c:v>2827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9B2-46E3-85FE-A83BCF6CC085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Sestry</c:v>
                </c:pt>
              </c:strCache>
            </c:strRef>
          </c:tx>
          <c:spPr>
            <a:ln w="28575" cap="rnd">
              <a:solidFill>
                <a:srgbClr val="ED7D31"/>
              </a:solidFill>
              <a:round/>
            </a:ln>
            <a:effectLst/>
          </c:spPr>
          <c:marker>
            <c:symbol val="none"/>
          </c:marker>
          <c:cat>
            <c:strRef>
              <c:f>List1!$H$1:$NH$1</c:f>
              <c:strCache>
                <c:ptCount val="365"/>
                <c:pt idx="0">
                  <c:v>26-XII.20</c:v>
                </c:pt>
                <c:pt idx="1">
                  <c:v>27.XII.20</c:v>
                </c:pt>
                <c:pt idx="2">
                  <c:v>28.XII.20</c:v>
                </c:pt>
                <c:pt idx="3">
                  <c:v>29.XII.20</c:v>
                </c:pt>
                <c:pt idx="4">
                  <c:v>30.XII.20</c:v>
                </c:pt>
                <c:pt idx="5">
                  <c:v>31.XII.20</c:v>
                </c:pt>
                <c:pt idx="6">
                  <c:v>1.I.21</c:v>
                </c:pt>
                <c:pt idx="7">
                  <c:v>2.I.21</c:v>
                </c:pt>
                <c:pt idx="8">
                  <c:v>3.I.21</c:v>
                </c:pt>
                <c:pt idx="9">
                  <c:v>4.I.21</c:v>
                </c:pt>
                <c:pt idx="10">
                  <c:v>5.I.21</c:v>
                </c:pt>
                <c:pt idx="11">
                  <c:v>6.I.21</c:v>
                </c:pt>
                <c:pt idx="12">
                  <c:v>7.I.21</c:v>
                </c:pt>
                <c:pt idx="13">
                  <c:v>8.I.21</c:v>
                </c:pt>
                <c:pt idx="14">
                  <c:v>9.I.21</c:v>
                </c:pt>
                <c:pt idx="15">
                  <c:v>10.I.21</c:v>
                </c:pt>
                <c:pt idx="16">
                  <c:v>11.I.21</c:v>
                </c:pt>
                <c:pt idx="17">
                  <c:v>12.I.21</c:v>
                </c:pt>
                <c:pt idx="18">
                  <c:v>13.I.21</c:v>
                </c:pt>
                <c:pt idx="19">
                  <c:v>14.I.21</c:v>
                </c:pt>
                <c:pt idx="20">
                  <c:v>15.I.21</c:v>
                </c:pt>
                <c:pt idx="21">
                  <c:v>16.I.21</c:v>
                </c:pt>
                <c:pt idx="22">
                  <c:v>17.I.21</c:v>
                </c:pt>
                <c:pt idx="23">
                  <c:v>18.I.21</c:v>
                </c:pt>
                <c:pt idx="24">
                  <c:v>19.I.21</c:v>
                </c:pt>
                <c:pt idx="25">
                  <c:v>20.I.21</c:v>
                </c:pt>
                <c:pt idx="26">
                  <c:v>21.I.21</c:v>
                </c:pt>
                <c:pt idx="27">
                  <c:v>22.I.21</c:v>
                </c:pt>
                <c:pt idx="28">
                  <c:v>23.I.21</c:v>
                </c:pt>
                <c:pt idx="29">
                  <c:v>24.I.21</c:v>
                </c:pt>
                <c:pt idx="30">
                  <c:v>25.I.21</c:v>
                </c:pt>
                <c:pt idx="31">
                  <c:v>26.I.21</c:v>
                </c:pt>
                <c:pt idx="32">
                  <c:v>27.I.21</c:v>
                </c:pt>
                <c:pt idx="33">
                  <c:v>28.I.21</c:v>
                </c:pt>
                <c:pt idx="34">
                  <c:v>29.I.21</c:v>
                </c:pt>
                <c:pt idx="35">
                  <c:v>30.I.21</c:v>
                </c:pt>
                <c:pt idx="36">
                  <c:v>31.I.21</c:v>
                </c:pt>
                <c:pt idx="37">
                  <c:v>1.II.21</c:v>
                </c:pt>
                <c:pt idx="38">
                  <c:v>2.II.21</c:v>
                </c:pt>
                <c:pt idx="39">
                  <c:v>3.II.21</c:v>
                </c:pt>
                <c:pt idx="40">
                  <c:v>4.II.21</c:v>
                </c:pt>
                <c:pt idx="41">
                  <c:v>5.II.21</c:v>
                </c:pt>
                <c:pt idx="42">
                  <c:v>6.II.21</c:v>
                </c:pt>
                <c:pt idx="43">
                  <c:v>7.II.21</c:v>
                </c:pt>
                <c:pt idx="44">
                  <c:v>8.II.21</c:v>
                </c:pt>
                <c:pt idx="45">
                  <c:v>9.II.21</c:v>
                </c:pt>
                <c:pt idx="46">
                  <c:v>10.II.21</c:v>
                </c:pt>
                <c:pt idx="47">
                  <c:v>11.II.21</c:v>
                </c:pt>
                <c:pt idx="48">
                  <c:v>12.II.21</c:v>
                </c:pt>
                <c:pt idx="49">
                  <c:v>13.II.21</c:v>
                </c:pt>
                <c:pt idx="50">
                  <c:v>14.II.21</c:v>
                </c:pt>
                <c:pt idx="51">
                  <c:v>15.II.21</c:v>
                </c:pt>
                <c:pt idx="52">
                  <c:v>16.II.21</c:v>
                </c:pt>
                <c:pt idx="53">
                  <c:v>17.II.21</c:v>
                </c:pt>
                <c:pt idx="54">
                  <c:v>18.II.21</c:v>
                </c:pt>
                <c:pt idx="55">
                  <c:v>19.II.21</c:v>
                </c:pt>
                <c:pt idx="56">
                  <c:v>20.II.21</c:v>
                </c:pt>
                <c:pt idx="57">
                  <c:v>21.II.21</c:v>
                </c:pt>
                <c:pt idx="58">
                  <c:v>22.II.21</c:v>
                </c:pt>
                <c:pt idx="59">
                  <c:v>23.II.21</c:v>
                </c:pt>
                <c:pt idx="60">
                  <c:v>24.II.21</c:v>
                </c:pt>
                <c:pt idx="61">
                  <c:v>25.II.21</c:v>
                </c:pt>
                <c:pt idx="62">
                  <c:v>26.II.21</c:v>
                </c:pt>
                <c:pt idx="63">
                  <c:v>27.II.21</c:v>
                </c:pt>
                <c:pt idx="64">
                  <c:v>28.II.21</c:v>
                </c:pt>
                <c:pt idx="65">
                  <c:v>1.III.21</c:v>
                </c:pt>
                <c:pt idx="66">
                  <c:v>2.III.21</c:v>
                </c:pt>
                <c:pt idx="67">
                  <c:v>3.III.21</c:v>
                </c:pt>
                <c:pt idx="68">
                  <c:v>4.III.21</c:v>
                </c:pt>
                <c:pt idx="69">
                  <c:v>5.III.21</c:v>
                </c:pt>
                <c:pt idx="70">
                  <c:v>6.III.21</c:v>
                </c:pt>
                <c:pt idx="71">
                  <c:v>7.III.21</c:v>
                </c:pt>
                <c:pt idx="72">
                  <c:v>8.III.21</c:v>
                </c:pt>
                <c:pt idx="73">
                  <c:v>9.III.21</c:v>
                </c:pt>
                <c:pt idx="74">
                  <c:v>10.III.21</c:v>
                </c:pt>
                <c:pt idx="75">
                  <c:v>11.III.21</c:v>
                </c:pt>
                <c:pt idx="76">
                  <c:v>12.III.21</c:v>
                </c:pt>
                <c:pt idx="77">
                  <c:v>13.III.21</c:v>
                </c:pt>
                <c:pt idx="78">
                  <c:v>14.III.21</c:v>
                </c:pt>
                <c:pt idx="79">
                  <c:v>15.III.21</c:v>
                </c:pt>
                <c:pt idx="80">
                  <c:v>16.III.21</c:v>
                </c:pt>
                <c:pt idx="81">
                  <c:v>17.III.21</c:v>
                </c:pt>
                <c:pt idx="82">
                  <c:v>18.III.21</c:v>
                </c:pt>
                <c:pt idx="83">
                  <c:v>19.III.21</c:v>
                </c:pt>
                <c:pt idx="84">
                  <c:v>20.III.21</c:v>
                </c:pt>
                <c:pt idx="85">
                  <c:v>21.III.21</c:v>
                </c:pt>
                <c:pt idx="86">
                  <c:v>22.III.21</c:v>
                </c:pt>
                <c:pt idx="87">
                  <c:v>23.III.21</c:v>
                </c:pt>
                <c:pt idx="88">
                  <c:v>24.III.21</c:v>
                </c:pt>
                <c:pt idx="89">
                  <c:v>25.III.21</c:v>
                </c:pt>
                <c:pt idx="90">
                  <c:v>26.III.21</c:v>
                </c:pt>
                <c:pt idx="91">
                  <c:v>27.III.21</c:v>
                </c:pt>
                <c:pt idx="92">
                  <c:v>28.III.21</c:v>
                </c:pt>
                <c:pt idx="93">
                  <c:v>29.III.21</c:v>
                </c:pt>
                <c:pt idx="94">
                  <c:v>30.III.21</c:v>
                </c:pt>
                <c:pt idx="95">
                  <c:v>31.III.21</c:v>
                </c:pt>
                <c:pt idx="96">
                  <c:v>1.IV.21</c:v>
                </c:pt>
                <c:pt idx="97">
                  <c:v>2.IV.21</c:v>
                </c:pt>
                <c:pt idx="98">
                  <c:v>3.IV.21</c:v>
                </c:pt>
                <c:pt idx="99">
                  <c:v>4.IV.21</c:v>
                </c:pt>
                <c:pt idx="100">
                  <c:v>5.IV.21</c:v>
                </c:pt>
                <c:pt idx="101">
                  <c:v>6.IV.21</c:v>
                </c:pt>
                <c:pt idx="102">
                  <c:v>7.IV.21</c:v>
                </c:pt>
                <c:pt idx="103">
                  <c:v>8.IV.21</c:v>
                </c:pt>
                <c:pt idx="104">
                  <c:v>9.IV.21</c:v>
                </c:pt>
                <c:pt idx="105">
                  <c:v>10.IV.21</c:v>
                </c:pt>
                <c:pt idx="106">
                  <c:v>11.IV.21</c:v>
                </c:pt>
                <c:pt idx="107">
                  <c:v>12.IV.21</c:v>
                </c:pt>
                <c:pt idx="108">
                  <c:v>13.IV.21</c:v>
                </c:pt>
                <c:pt idx="109">
                  <c:v>14.IV.21</c:v>
                </c:pt>
                <c:pt idx="110">
                  <c:v>15.IV.21</c:v>
                </c:pt>
                <c:pt idx="111">
                  <c:v>16.IV.21</c:v>
                </c:pt>
                <c:pt idx="112">
                  <c:v>17.IV.21</c:v>
                </c:pt>
                <c:pt idx="113">
                  <c:v>18.IV.21</c:v>
                </c:pt>
                <c:pt idx="114">
                  <c:v>19.IV.21</c:v>
                </c:pt>
                <c:pt idx="115">
                  <c:v>20.IV.21</c:v>
                </c:pt>
                <c:pt idx="116">
                  <c:v>21.IV.21</c:v>
                </c:pt>
                <c:pt idx="117">
                  <c:v>22.IV.21</c:v>
                </c:pt>
                <c:pt idx="118">
                  <c:v>23.IV.21</c:v>
                </c:pt>
                <c:pt idx="119">
                  <c:v>24.IV.21</c:v>
                </c:pt>
                <c:pt idx="120">
                  <c:v>25.IV.21</c:v>
                </c:pt>
                <c:pt idx="121">
                  <c:v>26.IV.21</c:v>
                </c:pt>
                <c:pt idx="122">
                  <c:v>27.IV.21</c:v>
                </c:pt>
                <c:pt idx="123">
                  <c:v>28.IV.21</c:v>
                </c:pt>
                <c:pt idx="124">
                  <c:v>29.IV.21</c:v>
                </c:pt>
                <c:pt idx="125">
                  <c:v>30.IV.21</c:v>
                </c:pt>
                <c:pt idx="126">
                  <c:v>1.V.21</c:v>
                </c:pt>
                <c:pt idx="127">
                  <c:v>2.V.21</c:v>
                </c:pt>
                <c:pt idx="128">
                  <c:v>3.V.21</c:v>
                </c:pt>
                <c:pt idx="129">
                  <c:v>4.V.21</c:v>
                </c:pt>
                <c:pt idx="130">
                  <c:v>5.V.21</c:v>
                </c:pt>
                <c:pt idx="131">
                  <c:v>6.V.21</c:v>
                </c:pt>
                <c:pt idx="132">
                  <c:v>7.V.21</c:v>
                </c:pt>
                <c:pt idx="133">
                  <c:v>8.V.21</c:v>
                </c:pt>
                <c:pt idx="134">
                  <c:v>9.V.21</c:v>
                </c:pt>
                <c:pt idx="135">
                  <c:v>10.V.21</c:v>
                </c:pt>
                <c:pt idx="136">
                  <c:v>11.V.21</c:v>
                </c:pt>
                <c:pt idx="137">
                  <c:v>12.V.21</c:v>
                </c:pt>
                <c:pt idx="138">
                  <c:v>13.V.21</c:v>
                </c:pt>
                <c:pt idx="139">
                  <c:v>14.V.21</c:v>
                </c:pt>
                <c:pt idx="140">
                  <c:v>15.V.21</c:v>
                </c:pt>
                <c:pt idx="141">
                  <c:v>16.V.21</c:v>
                </c:pt>
                <c:pt idx="142">
                  <c:v>17.V.21</c:v>
                </c:pt>
                <c:pt idx="143">
                  <c:v>18.V.21</c:v>
                </c:pt>
                <c:pt idx="144">
                  <c:v>19.V.21</c:v>
                </c:pt>
                <c:pt idx="145">
                  <c:v>20.V.21</c:v>
                </c:pt>
                <c:pt idx="146">
                  <c:v>21.V.21</c:v>
                </c:pt>
                <c:pt idx="147">
                  <c:v>22.V.21</c:v>
                </c:pt>
                <c:pt idx="148">
                  <c:v>23.V.21</c:v>
                </c:pt>
                <c:pt idx="149">
                  <c:v>24.V.21</c:v>
                </c:pt>
                <c:pt idx="150">
                  <c:v>25.V.21</c:v>
                </c:pt>
                <c:pt idx="151">
                  <c:v>26.V.21</c:v>
                </c:pt>
                <c:pt idx="152">
                  <c:v>27.V.21</c:v>
                </c:pt>
                <c:pt idx="153">
                  <c:v>28.V.21</c:v>
                </c:pt>
                <c:pt idx="154">
                  <c:v>29.V.21</c:v>
                </c:pt>
                <c:pt idx="155">
                  <c:v>30.V.21</c:v>
                </c:pt>
                <c:pt idx="156">
                  <c:v>31.V.21</c:v>
                </c:pt>
                <c:pt idx="157">
                  <c:v>1.VI.21</c:v>
                </c:pt>
                <c:pt idx="158">
                  <c:v>2.VI.21</c:v>
                </c:pt>
                <c:pt idx="159">
                  <c:v>3.VI.21</c:v>
                </c:pt>
                <c:pt idx="160">
                  <c:v>4.VI.21</c:v>
                </c:pt>
                <c:pt idx="161">
                  <c:v>5.VI.21</c:v>
                </c:pt>
                <c:pt idx="162">
                  <c:v>6.VI.21</c:v>
                </c:pt>
                <c:pt idx="163">
                  <c:v>7.VI.21</c:v>
                </c:pt>
                <c:pt idx="164">
                  <c:v>8.VI.21</c:v>
                </c:pt>
                <c:pt idx="165">
                  <c:v>9.VI.21</c:v>
                </c:pt>
                <c:pt idx="166">
                  <c:v>10.VI.21</c:v>
                </c:pt>
                <c:pt idx="167">
                  <c:v>11.VI.21</c:v>
                </c:pt>
                <c:pt idx="168">
                  <c:v>12.VI.21</c:v>
                </c:pt>
                <c:pt idx="169">
                  <c:v>13.VI.21</c:v>
                </c:pt>
                <c:pt idx="170">
                  <c:v>14.VI.21</c:v>
                </c:pt>
                <c:pt idx="171">
                  <c:v>15.VI.21</c:v>
                </c:pt>
                <c:pt idx="172">
                  <c:v>16.VI.21</c:v>
                </c:pt>
                <c:pt idx="173">
                  <c:v>17.VI.21</c:v>
                </c:pt>
                <c:pt idx="174">
                  <c:v>18.VI.21</c:v>
                </c:pt>
                <c:pt idx="175">
                  <c:v>19.VI.21</c:v>
                </c:pt>
                <c:pt idx="176">
                  <c:v>20.VI.21</c:v>
                </c:pt>
                <c:pt idx="177">
                  <c:v>21.VI.21</c:v>
                </c:pt>
                <c:pt idx="178">
                  <c:v>22.VI.21</c:v>
                </c:pt>
                <c:pt idx="179">
                  <c:v>23.VI.21</c:v>
                </c:pt>
                <c:pt idx="180">
                  <c:v>24.VI.21</c:v>
                </c:pt>
                <c:pt idx="181">
                  <c:v>25.VI.21</c:v>
                </c:pt>
                <c:pt idx="182">
                  <c:v>26.VI.21</c:v>
                </c:pt>
                <c:pt idx="183">
                  <c:v>27.VI.21</c:v>
                </c:pt>
                <c:pt idx="184">
                  <c:v>28.VI.21</c:v>
                </c:pt>
                <c:pt idx="185">
                  <c:v>29.VI.21</c:v>
                </c:pt>
                <c:pt idx="186">
                  <c:v>30.VI.21</c:v>
                </c:pt>
                <c:pt idx="187">
                  <c:v>1.VII.21</c:v>
                </c:pt>
                <c:pt idx="188">
                  <c:v>2.VII.21</c:v>
                </c:pt>
                <c:pt idx="189">
                  <c:v>3.VII.21</c:v>
                </c:pt>
                <c:pt idx="190">
                  <c:v>4.VII.21</c:v>
                </c:pt>
                <c:pt idx="191">
                  <c:v>5.VII.21</c:v>
                </c:pt>
                <c:pt idx="192">
                  <c:v>6.VII.21</c:v>
                </c:pt>
                <c:pt idx="193">
                  <c:v>7.VII.21</c:v>
                </c:pt>
                <c:pt idx="194">
                  <c:v>8.VII.21</c:v>
                </c:pt>
                <c:pt idx="195">
                  <c:v>9.VII.21</c:v>
                </c:pt>
                <c:pt idx="196">
                  <c:v>10.VII.21</c:v>
                </c:pt>
                <c:pt idx="197">
                  <c:v>11.VII.21</c:v>
                </c:pt>
                <c:pt idx="198">
                  <c:v>12.VII.21</c:v>
                </c:pt>
                <c:pt idx="199">
                  <c:v>13.VII.21</c:v>
                </c:pt>
                <c:pt idx="200">
                  <c:v>14.VII.21</c:v>
                </c:pt>
                <c:pt idx="201">
                  <c:v>15.VII.21</c:v>
                </c:pt>
                <c:pt idx="202">
                  <c:v>16.VII.21</c:v>
                </c:pt>
                <c:pt idx="203">
                  <c:v>17.VII.21</c:v>
                </c:pt>
                <c:pt idx="204">
                  <c:v>18.VII.21</c:v>
                </c:pt>
                <c:pt idx="205">
                  <c:v>19.VII.21</c:v>
                </c:pt>
                <c:pt idx="206">
                  <c:v>20.VII.21</c:v>
                </c:pt>
                <c:pt idx="207">
                  <c:v>21.VII.21</c:v>
                </c:pt>
                <c:pt idx="208">
                  <c:v>22.VII.21</c:v>
                </c:pt>
                <c:pt idx="209">
                  <c:v>23.VII.21</c:v>
                </c:pt>
                <c:pt idx="210">
                  <c:v>24.VII.21</c:v>
                </c:pt>
                <c:pt idx="211">
                  <c:v>25.VII.21</c:v>
                </c:pt>
                <c:pt idx="212">
                  <c:v>26.VII.21</c:v>
                </c:pt>
                <c:pt idx="213">
                  <c:v>27.VII.21</c:v>
                </c:pt>
                <c:pt idx="214">
                  <c:v>28.VII.21</c:v>
                </c:pt>
                <c:pt idx="215">
                  <c:v>29.VII.21</c:v>
                </c:pt>
                <c:pt idx="216">
                  <c:v>30.VII.21</c:v>
                </c:pt>
                <c:pt idx="217">
                  <c:v>31.VII.21</c:v>
                </c:pt>
                <c:pt idx="218">
                  <c:v>1.VIII.21</c:v>
                </c:pt>
                <c:pt idx="219">
                  <c:v>2.VIII.21</c:v>
                </c:pt>
                <c:pt idx="220">
                  <c:v>3.VIII.21</c:v>
                </c:pt>
                <c:pt idx="221">
                  <c:v>4.VIII.21</c:v>
                </c:pt>
                <c:pt idx="222">
                  <c:v>5.VIII.21</c:v>
                </c:pt>
                <c:pt idx="223">
                  <c:v>6.VIII.21</c:v>
                </c:pt>
                <c:pt idx="224">
                  <c:v>7.VIII.21</c:v>
                </c:pt>
                <c:pt idx="225">
                  <c:v>8.VIII.21</c:v>
                </c:pt>
                <c:pt idx="226">
                  <c:v>9.VIII.21</c:v>
                </c:pt>
                <c:pt idx="227">
                  <c:v>10.VIII.21</c:v>
                </c:pt>
                <c:pt idx="228">
                  <c:v>11.VIII.21</c:v>
                </c:pt>
                <c:pt idx="229">
                  <c:v>12.VIII.21</c:v>
                </c:pt>
                <c:pt idx="230">
                  <c:v>13.VIII.21</c:v>
                </c:pt>
                <c:pt idx="231">
                  <c:v>14.VIII.21</c:v>
                </c:pt>
                <c:pt idx="232">
                  <c:v>15.VIII.21</c:v>
                </c:pt>
                <c:pt idx="233">
                  <c:v>16.VIII.21</c:v>
                </c:pt>
                <c:pt idx="234">
                  <c:v>17.VIII.21</c:v>
                </c:pt>
                <c:pt idx="235">
                  <c:v>18.VIII.21</c:v>
                </c:pt>
                <c:pt idx="236">
                  <c:v>19.VIII.21</c:v>
                </c:pt>
                <c:pt idx="237">
                  <c:v>20.VIII.21</c:v>
                </c:pt>
                <c:pt idx="238">
                  <c:v>21.VIII.21</c:v>
                </c:pt>
                <c:pt idx="239">
                  <c:v>22.VIII.21</c:v>
                </c:pt>
                <c:pt idx="240">
                  <c:v>23.VIII.21</c:v>
                </c:pt>
                <c:pt idx="241">
                  <c:v>24.VIII.21</c:v>
                </c:pt>
                <c:pt idx="242">
                  <c:v>25.VIII.21</c:v>
                </c:pt>
                <c:pt idx="243">
                  <c:v>26.VIII.21</c:v>
                </c:pt>
                <c:pt idx="244">
                  <c:v>27.VIII.21</c:v>
                </c:pt>
                <c:pt idx="245">
                  <c:v>28.VIII.21</c:v>
                </c:pt>
                <c:pt idx="246">
                  <c:v>29.VIII.21</c:v>
                </c:pt>
                <c:pt idx="247">
                  <c:v>30.VIII.21</c:v>
                </c:pt>
                <c:pt idx="248">
                  <c:v>31.VIII.21</c:v>
                </c:pt>
                <c:pt idx="249">
                  <c:v>1.IX.21</c:v>
                </c:pt>
                <c:pt idx="250">
                  <c:v>2.IX.21</c:v>
                </c:pt>
                <c:pt idx="251">
                  <c:v>3.IX.21</c:v>
                </c:pt>
                <c:pt idx="252">
                  <c:v>4.IX.21</c:v>
                </c:pt>
                <c:pt idx="253">
                  <c:v>5.IX.21</c:v>
                </c:pt>
                <c:pt idx="254">
                  <c:v>6.IX.21</c:v>
                </c:pt>
                <c:pt idx="255">
                  <c:v>7.IX.21</c:v>
                </c:pt>
                <c:pt idx="256">
                  <c:v>8.IX.21</c:v>
                </c:pt>
                <c:pt idx="257">
                  <c:v>9.IX.21</c:v>
                </c:pt>
                <c:pt idx="258">
                  <c:v>10.IX.21</c:v>
                </c:pt>
                <c:pt idx="259">
                  <c:v>11.IX.21</c:v>
                </c:pt>
                <c:pt idx="260">
                  <c:v>12.IX.21</c:v>
                </c:pt>
                <c:pt idx="261">
                  <c:v>13.IX.21</c:v>
                </c:pt>
                <c:pt idx="262">
                  <c:v>14.IX.21</c:v>
                </c:pt>
                <c:pt idx="263">
                  <c:v>15.IX.21</c:v>
                </c:pt>
                <c:pt idx="264">
                  <c:v>16.IX.21</c:v>
                </c:pt>
                <c:pt idx="265">
                  <c:v>17.IX.21</c:v>
                </c:pt>
                <c:pt idx="266">
                  <c:v>18.IX.21</c:v>
                </c:pt>
                <c:pt idx="267">
                  <c:v>19.IX.21</c:v>
                </c:pt>
                <c:pt idx="268">
                  <c:v>20.IX.21</c:v>
                </c:pt>
                <c:pt idx="269">
                  <c:v>21.IX.21</c:v>
                </c:pt>
                <c:pt idx="270">
                  <c:v>22.IX.21</c:v>
                </c:pt>
                <c:pt idx="271">
                  <c:v>23.IX.21</c:v>
                </c:pt>
                <c:pt idx="272">
                  <c:v>24.IX.21</c:v>
                </c:pt>
                <c:pt idx="273">
                  <c:v>25.IX.21</c:v>
                </c:pt>
                <c:pt idx="274">
                  <c:v>26.IX.21</c:v>
                </c:pt>
                <c:pt idx="275">
                  <c:v>27.IX.21</c:v>
                </c:pt>
                <c:pt idx="276">
                  <c:v>28.IX.21</c:v>
                </c:pt>
                <c:pt idx="277">
                  <c:v>29.IX.21</c:v>
                </c:pt>
                <c:pt idx="278">
                  <c:v>30.IX.21</c:v>
                </c:pt>
                <c:pt idx="279">
                  <c:v>1.X.21</c:v>
                </c:pt>
                <c:pt idx="280">
                  <c:v>2.X.21</c:v>
                </c:pt>
                <c:pt idx="281">
                  <c:v>3.X.21</c:v>
                </c:pt>
                <c:pt idx="282">
                  <c:v>4.X.21</c:v>
                </c:pt>
                <c:pt idx="283">
                  <c:v>5.X.21</c:v>
                </c:pt>
                <c:pt idx="284">
                  <c:v>6.X.21</c:v>
                </c:pt>
                <c:pt idx="285">
                  <c:v>7.X.21</c:v>
                </c:pt>
                <c:pt idx="286">
                  <c:v>8.X.21</c:v>
                </c:pt>
                <c:pt idx="287">
                  <c:v>9.X.21</c:v>
                </c:pt>
                <c:pt idx="288">
                  <c:v>10.X.21</c:v>
                </c:pt>
                <c:pt idx="289">
                  <c:v>11.X.21</c:v>
                </c:pt>
                <c:pt idx="290">
                  <c:v>12.X.21</c:v>
                </c:pt>
                <c:pt idx="291">
                  <c:v>13.X.21</c:v>
                </c:pt>
                <c:pt idx="292">
                  <c:v>14.X.21</c:v>
                </c:pt>
                <c:pt idx="293">
                  <c:v>15.X.21</c:v>
                </c:pt>
                <c:pt idx="294">
                  <c:v>16.X.21</c:v>
                </c:pt>
                <c:pt idx="295">
                  <c:v>17.X.21</c:v>
                </c:pt>
                <c:pt idx="296">
                  <c:v>18.X.21</c:v>
                </c:pt>
                <c:pt idx="297">
                  <c:v>19.X.21</c:v>
                </c:pt>
                <c:pt idx="298">
                  <c:v>20.X.21</c:v>
                </c:pt>
                <c:pt idx="299">
                  <c:v>21.X.21</c:v>
                </c:pt>
                <c:pt idx="300">
                  <c:v>22.X.21</c:v>
                </c:pt>
                <c:pt idx="301">
                  <c:v>23.X.21</c:v>
                </c:pt>
                <c:pt idx="302">
                  <c:v>24.X.21</c:v>
                </c:pt>
                <c:pt idx="303">
                  <c:v>25.X.21</c:v>
                </c:pt>
                <c:pt idx="304">
                  <c:v>26.X.21</c:v>
                </c:pt>
                <c:pt idx="305">
                  <c:v>27.X.21</c:v>
                </c:pt>
                <c:pt idx="306">
                  <c:v>28.X.21</c:v>
                </c:pt>
                <c:pt idx="307">
                  <c:v>29.X.21</c:v>
                </c:pt>
                <c:pt idx="308">
                  <c:v>30.X.21</c:v>
                </c:pt>
                <c:pt idx="309">
                  <c:v>31.X.21</c:v>
                </c:pt>
                <c:pt idx="310">
                  <c:v>1.XI.21</c:v>
                </c:pt>
                <c:pt idx="311">
                  <c:v>2.XI.21</c:v>
                </c:pt>
                <c:pt idx="312">
                  <c:v>3.XI.21</c:v>
                </c:pt>
                <c:pt idx="313">
                  <c:v>4.XI.21</c:v>
                </c:pt>
                <c:pt idx="314">
                  <c:v>5.XI.21</c:v>
                </c:pt>
                <c:pt idx="315">
                  <c:v>6.XI.21</c:v>
                </c:pt>
                <c:pt idx="316">
                  <c:v>7.XI.21</c:v>
                </c:pt>
                <c:pt idx="317">
                  <c:v>8.XI.21</c:v>
                </c:pt>
                <c:pt idx="318">
                  <c:v>9.XI.21</c:v>
                </c:pt>
                <c:pt idx="319">
                  <c:v>10.XI.21</c:v>
                </c:pt>
                <c:pt idx="320">
                  <c:v>11.XI.21</c:v>
                </c:pt>
                <c:pt idx="321">
                  <c:v>12.XI.21</c:v>
                </c:pt>
                <c:pt idx="322">
                  <c:v>13.XI.21</c:v>
                </c:pt>
                <c:pt idx="323">
                  <c:v>14.XI.21</c:v>
                </c:pt>
                <c:pt idx="324">
                  <c:v>15.XI.21</c:v>
                </c:pt>
                <c:pt idx="325">
                  <c:v>16.XI.21</c:v>
                </c:pt>
                <c:pt idx="326">
                  <c:v>17.XI.21</c:v>
                </c:pt>
                <c:pt idx="327">
                  <c:v>18.XI.21</c:v>
                </c:pt>
                <c:pt idx="328">
                  <c:v>19.XI.21</c:v>
                </c:pt>
                <c:pt idx="329">
                  <c:v>20.XI.21</c:v>
                </c:pt>
                <c:pt idx="330">
                  <c:v>21.XI.21</c:v>
                </c:pt>
                <c:pt idx="331">
                  <c:v>22.XI.21</c:v>
                </c:pt>
                <c:pt idx="332">
                  <c:v>23.XI.21</c:v>
                </c:pt>
                <c:pt idx="333">
                  <c:v>24.XI.21</c:v>
                </c:pt>
                <c:pt idx="334">
                  <c:v>25.XI.21</c:v>
                </c:pt>
                <c:pt idx="335">
                  <c:v>26.XI.21</c:v>
                </c:pt>
                <c:pt idx="336">
                  <c:v>27.XI.21</c:v>
                </c:pt>
                <c:pt idx="337">
                  <c:v>28.XI.21</c:v>
                </c:pt>
                <c:pt idx="338">
                  <c:v>29.XI.21</c:v>
                </c:pt>
                <c:pt idx="339">
                  <c:v>30.XI.21</c:v>
                </c:pt>
                <c:pt idx="340">
                  <c:v>1.XII.21</c:v>
                </c:pt>
                <c:pt idx="341">
                  <c:v>2.XII.21</c:v>
                </c:pt>
                <c:pt idx="342">
                  <c:v>3.XII.21</c:v>
                </c:pt>
                <c:pt idx="343">
                  <c:v>4.XII.21</c:v>
                </c:pt>
                <c:pt idx="344">
                  <c:v>5.XII.21</c:v>
                </c:pt>
                <c:pt idx="345">
                  <c:v>6.XII.21</c:v>
                </c:pt>
                <c:pt idx="346">
                  <c:v>7.XII.21</c:v>
                </c:pt>
                <c:pt idx="347">
                  <c:v>8.XII.21</c:v>
                </c:pt>
                <c:pt idx="348">
                  <c:v>9.XII.21</c:v>
                </c:pt>
                <c:pt idx="349">
                  <c:v>10.XII.21</c:v>
                </c:pt>
                <c:pt idx="350">
                  <c:v>11.XII.21</c:v>
                </c:pt>
                <c:pt idx="351">
                  <c:v>12.XII.21</c:v>
                </c:pt>
                <c:pt idx="352">
                  <c:v>13.XII.21</c:v>
                </c:pt>
                <c:pt idx="353">
                  <c:v>14.XII.21</c:v>
                </c:pt>
                <c:pt idx="354">
                  <c:v>15.XII.21</c:v>
                </c:pt>
                <c:pt idx="355">
                  <c:v>16.XII.21</c:v>
                </c:pt>
                <c:pt idx="356">
                  <c:v>17.XII.21</c:v>
                </c:pt>
                <c:pt idx="357">
                  <c:v>18.XII.21</c:v>
                </c:pt>
                <c:pt idx="358">
                  <c:v>19.XII.21</c:v>
                </c:pt>
                <c:pt idx="359">
                  <c:v>20.XII.21</c:v>
                </c:pt>
                <c:pt idx="360">
                  <c:v>21.XII.21</c:v>
                </c:pt>
                <c:pt idx="361">
                  <c:v>22.XII.21</c:v>
                </c:pt>
                <c:pt idx="362">
                  <c:v>23.XII.21</c:v>
                </c:pt>
                <c:pt idx="363">
                  <c:v>24.XII.21</c:v>
                </c:pt>
                <c:pt idx="364">
                  <c:v>25.XII.21</c:v>
                </c:pt>
              </c:strCache>
            </c:strRef>
          </c:cat>
          <c:val>
            <c:numRef>
              <c:f>List1!$H$3:$NH$3</c:f>
              <c:numCache>
                <c:formatCode>General</c:formatCode>
                <c:ptCount val="365"/>
                <c:pt idx="1">
                  <c:v>409</c:v>
                </c:pt>
                <c:pt idx="2">
                  <c:v>1123</c:v>
                </c:pt>
                <c:pt idx="3">
                  <c:v>2233</c:v>
                </c:pt>
                <c:pt idx="4">
                  <c:v>3368</c:v>
                </c:pt>
                <c:pt idx="5">
                  <c:v>3749</c:v>
                </c:pt>
                <c:pt idx="6">
                  <c:v>3868</c:v>
                </c:pt>
                <c:pt idx="7">
                  <c:v>4349</c:v>
                </c:pt>
                <c:pt idx="8">
                  <c:v>4667</c:v>
                </c:pt>
                <c:pt idx="9">
                  <c:v>6014</c:v>
                </c:pt>
                <c:pt idx="10">
                  <c:v>7657</c:v>
                </c:pt>
                <c:pt idx="11">
                  <c:v>9670</c:v>
                </c:pt>
                <c:pt idx="12">
                  <c:v>12225</c:v>
                </c:pt>
                <c:pt idx="13">
                  <c:v>15357</c:v>
                </c:pt>
                <c:pt idx="14">
                  <c:v>15803</c:v>
                </c:pt>
                <c:pt idx="15">
                  <c:v>16157</c:v>
                </c:pt>
                <c:pt idx="16">
                  <c:v>18957</c:v>
                </c:pt>
                <c:pt idx="17">
                  <c:v>22151</c:v>
                </c:pt>
                <c:pt idx="18">
                  <c:v>25017</c:v>
                </c:pt>
                <c:pt idx="19">
                  <c:v>28207</c:v>
                </c:pt>
                <c:pt idx="20">
                  <c:v>30990</c:v>
                </c:pt>
                <c:pt idx="21">
                  <c:v>31371</c:v>
                </c:pt>
                <c:pt idx="22">
                  <c:v>31598</c:v>
                </c:pt>
                <c:pt idx="23">
                  <c:v>33553</c:v>
                </c:pt>
                <c:pt idx="24">
                  <c:v>35242</c:v>
                </c:pt>
                <c:pt idx="25">
                  <c:v>36888</c:v>
                </c:pt>
                <c:pt idx="26">
                  <c:v>38420</c:v>
                </c:pt>
                <c:pt idx="27">
                  <c:v>39729</c:v>
                </c:pt>
                <c:pt idx="28">
                  <c:v>39886</c:v>
                </c:pt>
                <c:pt idx="29">
                  <c:v>39995</c:v>
                </c:pt>
                <c:pt idx="30">
                  <c:v>40640</c:v>
                </c:pt>
                <c:pt idx="31">
                  <c:v>41415</c:v>
                </c:pt>
                <c:pt idx="32">
                  <c:v>42069</c:v>
                </c:pt>
                <c:pt idx="33">
                  <c:v>42677</c:v>
                </c:pt>
                <c:pt idx="34">
                  <c:v>43241</c:v>
                </c:pt>
                <c:pt idx="35">
                  <c:v>43263</c:v>
                </c:pt>
                <c:pt idx="36">
                  <c:v>43281</c:v>
                </c:pt>
                <c:pt idx="37">
                  <c:v>43639</c:v>
                </c:pt>
                <c:pt idx="38">
                  <c:v>43981</c:v>
                </c:pt>
                <c:pt idx="39">
                  <c:v>44342</c:v>
                </c:pt>
                <c:pt idx="40">
                  <c:v>44673</c:v>
                </c:pt>
                <c:pt idx="41">
                  <c:v>45091</c:v>
                </c:pt>
                <c:pt idx="42">
                  <c:v>45113</c:v>
                </c:pt>
                <c:pt idx="43">
                  <c:v>45134</c:v>
                </c:pt>
                <c:pt idx="44">
                  <c:v>45403</c:v>
                </c:pt>
                <c:pt idx="45">
                  <c:v>45725</c:v>
                </c:pt>
                <c:pt idx="46">
                  <c:v>46128</c:v>
                </c:pt>
                <c:pt idx="47">
                  <c:v>46601</c:v>
                </c:pt>
                <c:pt idx="48">
                  <c:v>47133</c:v>
                </c:pt>
                <c:pt idx="49">
                  <c:v>47307</c:v>
                </c:pt>
                <c:pt idx="50">
                  <c:v>47361</c:v>
                </c:pt>
                <c:pt idx="51">
                  <c:v>47913</c:v>
                </c:pt>
                <c:pt idx="52">
                  <c:v>48402</c:v>
                </c:pt>
                <c:pt idx="53">
                  <c:v>48971</c:v>
                </c:pt>
                <c:pt idx="54">
                  <c:v>49640</c:v>
                </c:pt>
                <c:pt idx="55">
                  <c:v>50397</c:v>
                </c:pt>
                <c:pt idx="56">
                  <c:v>50525</c:v>
                </c:pt>
                <c:pt idx="57">
                  <c:v>50584</c:v>
                </c:pt>
                <c:pt idx="58">
                  <c:v>51181</c:v>
                </c:pt>
                <c:pt idx="59">
                  <c:v>51997</c:v>
                </c:pt>
                <c:pt idx="60">
                  <c:v>52820</c:v>
                </c:pt>
                <c:pt idx="61">
                  <c:v>54045</c:v>
                </c:pt>
                <c:pt idx="62">
                  <c:v>55035</c:v>
                </c:pt>
                <c:pt idx="63">
                  <c:v>55111</c:v>
                </c:pt>
                <c:pt idx="64">
                  <c:v>55158</c:v>
                </c:pt>
                <c:pt idx="65">
                  <c:v>56047</c:v>
                </c:pt>
                <c:pt idx="66">
                  <c:v>57000</c:v>
                </c:pt>
                <c:pt idx="67">
                  <c:v>57994</c:v>
                </c:pt>
                <c:pt idx="68">
                  <c:v>58904</c:v>
                </c:pt>
                <c:pt idx="69">
                  <c:v>60093</c:v>
                </c:pt>
                <c:pt idx="70">
                  <c:v>60342</c:v>
                </c:pt>
                <c:pt idx="71">
                  <c:v>60531</c:v>
                </c:pt>
                <c:pt idx="72">
                  <c:v>61310</c:v>
                </c:pt>
                <c:pt idx="73">
                  <c:v>62236</c:v>
                </c:pt>
                <c:pt idx="74">
                  <c:v>63185</c:v>
                </c:pt>
                <c:pt idx="75">
                  <c:v>64512</c:v>
                </c:pt>
                <c:pt idx="76">
                  <c:v>65615</c:v>
                </c:pt>
                <c:pt idx="77">
                  <c:v>65851</c:v>
                </c:pt>
                <c:pt idx="78">
                  <c:v>66094</c:v>
                </c:pt>
                <c:pt idx="79">
                  <c:v>66800</c:v>
                </c:pt>
                <c:pt idx="80">
                  <c:v>67842</c:v>
                </c:pt>
                <c:pt idx="81">
                  <c:v>68864</c:v>
                </c:pt>
                <c:pt idx="82">
                  <c:v>69758</c:v>
                </c:pt>
                <c:pt idx="83">
                  <c:v>70733</c:v>
                </c:pt>
                <c:pt idx="84">
                  <c:v>71093</c:v>
                </c:pt>
                <c:pt idx="85">
                  <c:v>71265</c:v>
                </c:pt>
                <c:pt idx="86">
                  <c:v>71797</c:v>
                </c:pt>
                <c:pt idx="87">
                  <c:v>72350</c:v>
                </c:pt>
                <c:pt idx="88">
                  <c:v>72855</c:v>
                </c:pt>
                <c:pt idx="89">
                  <c:v>73414</c:v>
                </c:pt>
                <c:pt idx="90">
                  <c:v>73995</c:v>
                </c:pt>
                <c:pt idx="91">
                  <c:v>74147</c:v>
                </c:pt>
                <c:pt idx="92">
                  <c:v>74314</c:v>
                </c:pt>
                <c:pt idx="93">
                  <c:v>74662</c:v>
                </c:pt>
                <c:pt idx="94">
                  <c:v>75109</c:v>
                </c:pt>
                <c:pt idx="95">
                  <c:v>75577</c:v>
                </c:pt>
                <c:pt idx="96">
                  <c:v>76031</c:v>
                </c:pt>
                <c:pt idx="97">
                  <c:v>76136</c:v>
                </c:pt>
                <c:pt idx="98">
                  <c:v>76178</c:v>
                </c:pt>
                <c:pt idx="99">
                  <c:v>76227</c:v>
                </c:pt>
                <c:pt idx="100">
                  <c:v>76263</c:v>
                </c:pt>
                <c:pt idx="101">
                  <c:v>76509</c:v>
                </c:pt>
                <c:pt idx="102">
                  <c:v>76826</c:v>
                </c:pt>
                <c:pt idx="103">
                  <c:v>77365</c:v>
                </c:pt>
                <c:pt idx="104">
                  <c:v>77939</c:v>
                </c:pt>
                <c:pt idx="105">
                  <c:v>78098</c:v>
                </c:pt>
                <c:pt idx="106">
                  <c:v>78198</c:v>
                </c:pt>
                <c:pt idx="107">
                  <c:v>78625</c:v>
                </c:pt>
                <c:pt idx="108">
                  <c:v>79004</c:v>
                </c:pt>
                <c:pt idx="109">
                  <c:v>79458</c:v>
                </c:pt>
                <c:pt idx="110">
                  <c:v>80117</c:v>
                </c:pt>
                <c:pt idx="111">
                  <c:v>80843</c:v>
                </c:pt>
                <c:pt idx="112">
                  <c:v>81046</c:v>
                </c:pt>
                <c:pt idx="113">
                  <c:v>81238</c:v>
                </c:pt>
                <c:pt idx="114">
                  <c:v>81759</c:v>
                </c:pt>
                <c:pt idx="115">
                  <c:v>82263</c:v>
                </c:pt>
                <c:pt idx="116">
                  <c:v>82922</c:v>
                </c:pt>
                <c:pt idx="117">
                  <c:v>83647</c:v>
                </c:pt>
                <c:pt idx="118">
                  <c:v>84358</c:v>
                </c:pt>
                <c:pt idx="119">
                  <c:v>84558</c:v>
                </c:pt>
                <c:pt idx="120">
                  <c:v>84746</c:v>
                </c:pt>
                <c:pt idx="121">
                  <c:v>85352</c:v>
                </c:pt>
                <c:pt idx="122">
                  <c:v>85900</c:v>
                </c:pt>
                <c:pt idx="123">
                  <c:v>86603</c:v>
                </c:pt>
                <c:pt idx="124">
                  <c:v>87361</c:v>
                </c:pt>
                <c:pt idx="125">
                  <c:v>88008</c:v>
                </c:pt>
                <c:pt idx="126">
                  <c:v>88162</c:v>
                </c:pt>
                <c:pt idx="127">
                  <c:v>88315</c:v>
                </c:pt>
                <c:pt idx="128">
                  <c:v>88823</c:v>
                </c:pt>
                <c:pt idx="129">
                  <c:v>89344</c:v>
                </c:pt>
                <c:pt idx="130">
                  <c:v>89869</c:v>
                </c:pt>
                <c:pt idx="131">
                  <c:v>90416</c:v>
                </c:pt>
                <c:pt idx="132">
                  <c:v>90987</c:v>
                </c:pt>
                <c:pt idx="133">
                  <c:v>91204</c:v>
                </c:pt>
                <c:pt idx="134">
                  <c:v>91311</c:v>
                </c:pt>
                <c:pt idx="135">
                  <c:v>91708</c:v>
                </c:pt>
                <c:pt idx="136">
                  <c:v>92187</c:v>
                </c:pt>
                <c:pt idx="137">
                  <c:v>92620</c:v>
                </c:pt>
                <c:pt idx="138">
                  <c:v>93055</c:v>
                </c:pt>
                <c:pt idx="139">
                  <c:v>93421</c:v>
                </c:pt>
                <c:pt idx="140">
                  <c:v>93583</c:v>
                </c:pt>
                <c:pt idx="141">
                  <c:v>93687</c:v>
                </c:pt>
                <c:pt idx="142">
                  <c:v>94004</c:v>
                </c:pt>
                <c:pt idx="143">
                  <c:v>94377</c:v>
                </c:pt>
                <c:pt idx="144">
                  <c:v>94738</c:v>
                </c:pt>
                <c:pt idx="145">
                  <c:v>95130</c:v>
                </c:pt>
                <c:pt idx="146">
                  <c:v>95494</c:v>
                </c:pt>
                <c:pt idx="147">
                  <c:v>95639</c:v>
                </c:pt>
                <c:pt idx="148">
                  <c:v>95737</c:v>
                </c:pt>
                <c:pt idx="149">
                  <c:v>95951</c:v>
                </c:pt>
                <c:pt idx="150">
                  <c:v>96190</c:v>
                </c:pt>
                <c:pt idx="151">
                  <c:v>96541</c:v>
                </c:pt>
                <c:pt idx="152">
                  <c:v>96870</c:v>
                </c:pt>
                <c:pt idx="153">
                  <c:v>97155</c:v>
                </c:pt>
                <c:pt idx="154">
                  <c:v>97297</c:v>
                </c:pt>
                <c:pt idx="155">
                  <c:v>97388</c:v>
                </c:pt>
                <c:pt idx="156">
                  <c:v>97665</c:v>
                </c:pt>
                <c:pt idx="157">
                  <c:v>97936</c:v>
                </c:pt>
                <c:pt idx="158">
                  <c:v>98280</c:v>
                </c:pt>
                <c:pt idx="159">
                  <c:v>98633</c:v>
                </c:pt>
                <c:pt idx="160">
                  <c:v>98958</c:v>
                </c:pt>
                <c:pt idx="161">
                  <c:v>99095</c:v>
                </c:pt>
                <c:pt idx="162">
                  <c:v>99225</c:v>
                </c:pt>
                <c:pt idx="163">
                  <c:v>99562</c:v>
                </c:pt>
                <c:pt idx="164">
                  <c:v>99902</c:v>
                </c:pt>
                <c:pt idx="165">
                  <c:v>100252</c:v>
                </c:pt>
                <c:pt idx="166">
                  <c:v>100611</c:v>
                </c:pt>
                <c:pt idx="167">
                  <c:v>100912</c:v>
                </c:pt>
                <c:pt idx="168">
                  <c:v>101120</c:v>
                </c:pt>
                <c:pt idx="169">
                  <c:v>101237</c:v>
                </c:pt>
                <c:pt idx="170">
                  <c:v>101481</c:v>
                </c:pt>
                <c:pt idx="171">
                  <c:v>101755</c:v>
                </c:pt>
                <c:pt idx="172">
                  <c:v>101996</c:v>
                </c:pt>
                <c:pt idx="173">
                  <c:v>102267</c:v>
                </c:pt>
                <c:pt idx="174">
                  <c:v>102484</c:v>
                </c:pt>
                <c:pt idx="175">
                  <c:v>102602</c:v>
                </c:pt>
                <c:pt idx="176">
                  <c:v>102696</c:v>
                </c:pt>
                <c:pt idx="177">
                  <c:v>102874</c:v>
                </c:pt>
                <c:pt idx="178">
                  <c:v>103095</c:v>
                </c:pt>
                <c:pt idx="179">
                  <c:v>103285</c:v>
                </c:pt>
                <c:pt idx="180">
                  <c:v>103446</c:v>
                </c:pt>
                <c:pt idx="181">
                  <c:v>103632</c:v>
                </c:pt>
                <c:pt idx="182">
                  <c:v>103723</c:v>
                </c:pt>
                <c:pt idx="183">
                  <c:v>103791</c:v>
                </c:pt>
                <c:pt idx="184">
                  <c:v>103972</c:v>
                </c:pt>
                <c:pt idx="185">
                  <c:v>104140</c:v>
                </c:pt>
                <c:pt idx="186">
                  <c:v>104321</c:v>
                </c:pt>
                <c:pt idx="187">
                  <c:v>104462</c:v>
                </c:pt>
                <c:pt idx="188">
                  <c:v>104655</c:v>
                </c:pt>
                <c:pt idx="189">
                  <c:v>104689</c:v>
                </c:pt>
                <c:pt idx="190">
                  <c:v>104734</c:v>
                </c:pt>
                <c:pt idx="191">
                  <c:v>104782</c:v>
                </c:pt>
                <c:pt idx="192">
                  <c:v>104814</c:v>
                </c:pt>
                <c:pt idx="193">
                  <c:v>104978</c:v>
                </c:pt>
                <c:pt idx="194">
                  <c:v>105156</c:v>
                </c:pt>
                <c:pt idx="195">
                  <c:v>105328</c:v>
                </c:pt>
                <c:pt idx="196">
                  <c:v>105388</c:v>
                </c:pt>
                <c:pt idx="197">
                  <c:v>105437</c:v>
                </c:pt>
                <c:pt idx="198">
                  <c:v>105599</c:v>
                </c:pt>
                <c:pt idx="199">
                  <c:v>105784</c:v>
                </c:pt>
                <c:pt idx="200">
                  <c:v>105987</c:v>
                </c:pt>
                <c:pt idx="201">
                  <c:v>106178</c:v>
                </c:pt>
                <c:pt idx="202">
                  <c:v>106361</c:v>
                </c:pt>
                <c:pt idx="203">
                  <c:v>106411</c:v>
                </c:pt>
                <c:pt idx="204">
                  <c:v>106469</c:v>
                </c:pt>
                <c:pt idx="205">
                  <c:v>106639</c:v>
                </c:pt>
                <c:pt idx="206">
                  <c:v>106788</c:v>
                </c:pt>
                <c:pt idx="207">
                  <c:v>106968</c:v>
                </c:pt>
                <c:pt idx="208">
                  <c:v>107146</c:v>
                </c:pt>
                <c:pt idx="209">
                  <c:v>107293</c:v>
                </c:pt>
                <c:pt idx="210">
                  <c:v>107337</c:v>
                </c:pt>
                <c:pt idx="211">
                  <c:v>107363</c:v>
                </c:pt>
                <c:pt idx="212">
                  <c:v>107531</c:v>
                </c:pt>
                <c:pt idx="213">
                  <c:v>107701</c:v>
                </c:pt>
                <c:pt idx="214">
                  <c:v>107852</c:v>
                </c:pt>
                <c:pt idx="215">
                  <c:v>108001</c:v>
                </c:pt>
                <c:pt idx="216">
                  <c:v>108166</c:v>
                </c:pt>
                <c:pt idx="217">
                  <c:v>108205</c:v>
                </c:pt>
                <c:pt idx="218">
                  <c:v>108245</c:v>
                </c:pt>
                <c:pt idx="219">
                  <c:v>108344</c:v>
                </c:pt>
                <c:pt idx="220">
                  <c:v>108456</c:v>
                </c:pt>
                <c:pt idx="221">
                  <c:v>108585</c:v>
                </c:pt>
                <c:pt idx="222">
                  <c:v>108694</c:v>
                </c:pt>
                <c:pt idx="223">
                  <c:v>108814</c:v>
                </c:pt>
                <c:pt idx="224">
                  <c:v>108836</c:v>
                </c:pt>
                <c:pt idx="225">
                  <c:v>108861</c:v>
                </c:pt>
                <c:pt idx="226">
                  <c:v>108946</c:v>
                </c:pt>
                <c:pt idx="227">
                  <c:v>109025</c:v>
                </c:pt>
                <c:pt idx="228">
                  <c:v>109095</c:v>
                </c:pt>
                <c:pt idx="229">
                  <c:v>109201</c:v>
                </c:pt>
                <c:pt idx="230">
                  <c:v>109264</c:v>
                </c:pt>
                <c:pt idx="231">
                  <c:v>109285</c:v>
                </c:pt>
                <c:pt idx="232">
                  <c:v>109307</c:v>
                </c:pt>
                <c:pt idx="233">
                  <c:v>109392</c:v>
                </c:pt>
                <c:pt idx="234">
                  <c:v>109471</c:v>
                </c:pt>
                <c:pt idx="235">
                  <c:v>109533</c:v>
                </c:pt>
                <c:pt idx="236">
                  <c:v>109603</c:v>
                </c:pt>
                <c:pt idx="237">
                  <c:v>109718</c:v>
                </c:pt>
                <c:pt idx="238">
                  <c:v>109732</c:v>
                </c:pt>
                <c:pt idx="239">
                  <c:v>109743</c:v>
                </c:pt>
                <c:pt idx="240">
                  <c:v>109839</c:v>
                </c:pt>
                <c:pt idx="241">
                  <c:v>109927</c:v>
                </c:pt>
                <c:pt idx="242">
                  <c:v>109994</c:v>
                </c:pt>
                <c:pt idx="243">
                  <c:v>110066</c:v>
                </c:pt>
                <c:pt idx="244">
                  <c:v>110154</c:v>
                </c:pt>
                <c:pt idx="245">
                  <c:v>110170</c:v>
                </c:pt>
                <c:pt idx="246">
                  <c:v>110186</c:v>
                </c:pt>
                <c:pt idx="247">
                  <c:v>110258</c:v>
                </c:pt>
                <c:pt idx="248">
                  <c:v>110319</c:v>
                </c:pt>
                <c:pt idx="249">
                  <c:v>110375</c:v>
                </c:pt>
                <c:pt idx="250">
                  <c:v>110449</c:v>
                </c:pt>
                <c:pt idx="251">
                  <c:v>110525</c:v>
                </c:pt>
                <c:pt idx="252">
                  <c:v>110537</c:v>
                </c:pt>
                <c:pt idx="253">
                  <c:v>110547</c:v>
                </c:pt>
                <c:pt idx="254">
                  <c:v>110606</c:v>
                </c:pt>
                <c:pt idx="255">
                  <c:v>110648</c:v>
                </c:pt>
                <c:pt idx="256">
                  <c:v>110699</c:v>
                </c:pt>
                <c:pt idx="257">
                  <c:v>110755</c:v>
                </c:pt>
                <c:pt idx="258">
                  <c:v>110806</c:v>
                </c:pt>
                <c:pt idx="259">
                  <c:v>110823</c:v>
                </c:pt>
                <c:pt idx="260">
                  <c:v>110830</c:v>
                </c:pt>
                <c:pt idx="261">
                  <c:v>110874</c:v>
                </c:pt>
                <c:pt idx="262">
                  <c:v>110937</c:v>
                </c:pt>
                <c:pt idx="263">
                  <c:v>110986</c:v>
                </c:pt>
                <c:pt idx="264">
                  <c:v>111043</c:v>
                </c:pt>
                <c:pt idx="265">
                  <c:v>111111</c:v>
                </c:pt>
                <c:pt idx="266">
                  <c:v>111128</c:v>
                </c:pt>
                <c:pt idx="267">
                  <c:v>111135</c:v>
                </c:pt>
                <c:pt idx="268">
                  <c:v>111173</c:v>
                </c:pt>
                <c:pt idx="269">
                  <c:v>111222</c:v>
                </c:pt>
                <c:pt idx="270">
                  <c:v>111264</c:v>
                </c:pt>
                <c:pt idx="271">
                  <c:v>111317</c:v>
                </c:pt>
                <c:pt idx="272">
                  <c:v>111389</c:v>
                </c:pt>
                <c:pt idx="273">
                  <c:v>111399</c:v>
                </c:pt>
                <c:pt idx="274">
                  <c:v>111403</c:v>
                </c:pt>
                <c:pt idx="275">
                  <c:v>111446</c:v>
                </c:pt>
                <c:pt idx="276">
                  <c:v>111448</c:v>
                </c:pt>
                <c:pt idx="277">
                  <c:v>111489</c:v>
                </c:pt>
                <c:pt idx="278">
                  <c:v>111528</c:v>
                </c:pt>
                <c:pt idx="279">
                  <c:v>111562</c:v>
                </c:pt>
                <c:pt idx="280">
                  <c:v>111569</c:v>
                </c:pt>
                <c:pt idx="281">
                  <c:v>111576</c:v>
                </c:pt>
                <c:pt idx="282">
                  <c:v>111604</c:v>
                </c:pt>
                <c:pt idx="283">
                  <c:v>111651</c:v>
                </c:pt>
                <c:pt idx="284">
                  <c:v>111700</c:v>
                </c:pt>
                <c:pt idx="285">
                  <c:v>111728</c:v>
                </c:pt>
                <c:pt idx="286">
                  <c:v>111779</c:v>
                </c:pt>
                <c:pt idx="287">
                  <c:v>111789</c:v>
                </c:pt>
                <c:pt idx="288">
                  <c:v>111794</c:v>
                </c:pt>
                <c:pt idx="289">
                  <c:v>111824</c:v>
                </c:pt>
                <c:pt idx="290">
                  <c:v>111845</c:v>
                </c:pt>
                <c:pt idx="291">
                  <c:v>111882</c:v>
                </c:pt>
                <c:pt idx="292">
                  <c:v>111912</c:v>
                </c:pt>
                <c:pt idx="293">
                  <c:v>111957</c:v>
                </c:pt>
                <c:pt idx="294">
                  <c:v>111969</c:v>
                </c:pt>
                <c:pt idx="295">
                  <c:v>111986</c:v>
                </c:pt>
                <c:pt idx="296">
                  <c:v>112038</c:v>
                </c:pt>
                <c:pt idx="297">
                  <c:v>112094</c:v>
                </c:pt>
                <c:pt idx="298">
                  <c:v>112153</c:v>
                </c:pt>
                <c:pt idx="299">
                  <c:v>112267</c:v>
                </c:pt>
                <c:pt idx="300">
                  <c:v>112391</c:v>
                </c:pt>
                <c:pt idx="301">
                  <c:v>112417</c:v>
                </c:pt>
                <c:pt idx="302">
                  <c:v>112441</c:v>
                </c:pt>
                <c:pt idx="303">
                  <c:v>112566</c:v>
                </c:pt>
                <c:pt idx="304">
                  <c:v>112734</c:v>
                </c:pt>
                <c:pt idx="305">
                  <c:v>112935</c:v>
                </c:pt>
                <c:pt idx="306">
                  <c:v>112972</c:v>
                </c:pt>
                <c:pt idx="307">
                  <c:v>113136</c:v>
                </c:pt>
                <c:pt idx="308">
                  <c:v>113182</c:v>
                </c:pt>
                <c:pt idx="309">
                  <c:v>113214</c:v>
                </c:pt>
                <c:pt idx="310">
                  <c:v>113383</c:v>
                </c:pt>
                <c:pt idx="311">
                  <c:v>113583</c:v>
                </c:pt>
                <c:pt idx="312">
                  <c:v>113773</c:v>
                </c:pt>
                <c:pt idx="313">
                  <c:v>114005</c:v>
                </c:pt>
                <c:pt idx="314">
                  <c:v>114252</c:v>
                </c:pt>
                <c:pt idx="315">
                  <c:v>114310</c:v>
                </c:pt>
                <c:pt idx="316">
                  <c:v>114348</c:v>
                </c:pt>
                <c:pt idx="317">
                  <c:v>114534</c:v>
                </c:pt>
                <c:pt idx="318">
                  <c:v>114689</c:v>
                </c:pt>
                <c:pt idx="319">
                  <c:v>114877</c:v>
                </c:pt>
                <c:pt idx="320">
                  <c:v>115055</c:v>
                </c:pt>
                <c:pt idx="321">
                  <c:v>115260</c:v>
                </c:pt>
                <c:pt idx="322">
                  <c:v>115319</c:v>
                </c:pt>
                <c:pt idx="323">
                  <c:v>115358</c:v>
                </c:pt>
                <c:pt idx="324">
                  <c:v>115548</c:v>
                </c:pt>
                <c:pt idx="325">
                  <c:v>115752</c:v>
                </c:pt>
                <c:pt idx="326">
                  <c:v>115802</c:v>
                </c:pt>
                <c:pt idx="327">
                  <c:v>116024</c:v>
                </c:pt>
                <c:pt idx="328">
                  <c:v>116302</c:v>
                </c:pt>
                <c:pt idx="329">
                  <c:v>116393</c:v>
                </c:pt>
                <c:pt idx="330">
                  <c:v>116460</c:v>
                </c:pt>
                <c:pt idx="331">
                  <c:v>116646</c:v>
                </c:pt>
                <c:pt idx="332">
                  <c:v>116825</c:v>
                </c:pt>
                <c:pt idx="333">
                  <c:v>117051</c:v>
                </c:pt>
                <c:pt idx="334">
                  <c:v>117266</c:v>
                </c:pt>
                <c:pt idx="335">
                  <c:v>117504</c:v>
                </c:pt>
                <c:pt idx="336">
                  <c:v>117565</c:v>
                </c:pt>
                <c:pt idx="337">
                  <c:v>117588</c:v>
                </c:pt>
                <c:pt idx="338">
                  <c:v>117738</c:v>
                </c:pt>
                <c:pt idx="339">
                  <c:v>117897</c:v>
                </c:pt>
                <c:pt idx="340">
                  <c:v>118053</c:v>
                </c:pt>
                <c:pt idx="341">
                  <c:v>118168</c:v>
                </c:pt>
                <c:pt idx="342">
                  <c:v>118280</c:v>
                </c:pt>
                <c:pt idx="343">
                  <c:v>118307</c:v>
                </c:pt>
                <c:pt idx="344">
                  <c:v>118317</c:v>
                </c:pt>
                <c:pt idx="345">
                  <c:v>118417</c:v>
                </c:pt>
                <c:pt idx="346">
                  <c:v>118499</c:v>
                </c:pt>
                <c:pt idx="347">
                  <c:v>118597</c:v>
                </c:pt>
                <c:pt idx="348">
                  <c:v>118673</c:v>
                </c:pt>
                <c:pt idx="349">
                  <c:v>118756</c:v>
                </c:pt>
                <c:pt idx="350">
                  <c:v>118770</c:v>
                </c:pt>
                <c:pt idx="351">
                  <c:v>118781</c:v>
                </c:pt>
                <c:pt idx="352">
                  <c:v>118866</c:v>
                </c:pt>
                <c:pt idx="353">
                  <c:v>118927</c:v>
                </c:pt>
                <c:pt idx="354">
                  <c:v>119008</c:v>
                </c:pt>
                <c:pt idx="355">
                  <c:v>119089</c:v>
                </c:pt>
                <c:pt idx="356">
                  <c:v>119172</c:v>
                </c:pt>
                <c:pt idx="357">
                  <c:v>119197</c:v>
                </c:pt>
                <c:pt idx="358">
                  <c:v>119201</c:v>
                </c:pt>
                <c:pt idx="359">
                  <c:v>119257</c:v>
                </c:pt>
                <c:pt idx="360">
                  <c:v>119296</c:v>
                </c:pt>
                <c:pt idx="361">
                  <c:v>119333</c:v>
                </c:pt>
                <c:pt idx="362">
                  <c:v>119353</c:v>
                </c:pt>
                <c:pt idx="363">
                  <c:v>119353</c:v>
                </c:pt>
                <c:pt idx="364">
                  <c:v>1193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9B2-46E3-85FE-A83BCF6CC085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Ostatní ZP</c:v>
                </c:pt>
              </c:strCache>
            </c:strRef>
          </c:tx>
          <c:spPr>
            <a:ln w="28575" cap="rnd">
              <a:solidFill>
                <a:srgbClr val="A6A6A6"/>
              </a:solidFill>
              <a:round/>
            </a:ln>
            <a:effectLst/>
          </c:spPr>
          <c:marker>
            <c:symbol val="none"/>
          </c:marker>
          <c:cat>
            <c:strRef>
              <c:f>List1!$H$1:$NH$1</c:f>
              <c:strCache>
                <c:ptCount val="365"/>
                <c:pt idx="0">
                  <c:v>26-XII.20</c:v>
                </c:pt>
                <c:pt idx="1">
                  <c:v>27.XII.20</c:v>
                </c:pt>
                <c:pt idx="2">
                  <c:v>28.XII.20</c:v>
                </c:pt>
                <c:pt idx="3">
                  <c:v>29.XII.20</c:v>
                </c:pt>
                <c:pt idx="4">
                  <c:v>30.XII.20</c:v>
                </c:pt>
                <c:pt idx="5">
                  <c:v>31.XII.20</c:v>
                </c:pt>
                <c:pt idx="6">
                  <c:v>1.I.21</c:v>
                </c:pt>
                <c:pt idx="7">
                  <c:v>2.I.21</c:v>
                </c:pt>
                <c:pt idx="8">
                  <c:v>3.I.21</c:v>
                </c:pt>
                <c:pt idx="9">
                  <c:v>4.I.21</c:v>
                </c:pt>
                <c:pt idx="10">
                  <c:v>5.I.21</c:v>
                </c:pt>
                <c:pt idx="11">
                  <c:v>6.I.21</c:v>
                </c:pt>
                <c:pt idx="12">
                  <c:v>7.I.21</c:v>
                </c:pt>
                <c:pt idx="13">
                  <c:v>8.I.21</c:v>
                </c:pt>
                <c:pt idx="14">
                  <c:v>9.I.21</c:v>
                </c:pt>
                <c:pt idx="15">
                  <c:v>10.I.21</c:v>
                </c:pt>
                <c:pt idx="16">
                  <c:v>11.I.21</c:v>
                </c:pt>
                <c:pt idx="17">
                  <c:v>12.I.21</c:v>
                </c:pt>
                <c:pt idx="18">
                  <c:v>13.I.21</c:v>
                </c:pt>
                <c:pt idx="19">
                  <c:v>14.I.21</c:v>
                </c:pt>
                <c:pt idx="20">
                  <c:v>15.I.21</c:v>
                </c:pt>
                <c:pt idx="21">
                  <c:v>16.I.21</c:v>
                </c:pt>
                <c:pt idx="22">
                  <c:v>17.I.21</c:v>
                </c:pt>
                <c:pt idx="23">
                  <c:v>18.I.21</c:v>
                </c:pt>
                <c:pt idx="24">
                  <c:v>19.I.21</c:v>
                </c:pt>
                <c:pt idx="25">
                  <c:v>20.I.21</c:v>
                </c:pt>
                <c:pt idx="26">
                  <c:v>21.I.21</c:v>
                </c:pt>
                <c:pt idx="27">
                  <c:v>22.I.21</c:v>
                </c:pt>
                <c:pt idx="28">
                  <c:v>23.I.21</c:v>
                </c:pt>
                <c:pt idx="29">
                  <c:v>24.I.21</c:v>
                </c:pt>
                <c:pt idx="30">
                  <c:v>25.I.21</c:v>
                </c:pt>
                <c:pt idx="31">
                  <c:v>26.I.21</c:v>
                </c:pt>
                <c:pt idx="32">
                  <c:v>27.I.21</c:v>
                </c:pt>
                <c:pt idx="33">
                  <c:v>28.I.21</c:v>
                </c:pt>
                <c:pt idx="34">
                  <c:v>29.I.21</c:v>
                </c:pt>
                <c:pt idx="35">
                  <c:v>30.I.21</c:v>
                </c:pt>
                <c:pt idx="36">
                  <c:v>31.I.21</c:v>
                </c:pt>
                <c:pt idx="37">
                  <c:v>1.II.21</c:v>
                </c:pt>
                <c:pt idx="38">
                  <c:v>2.II.21</c:v>
                </c:pt>
                <c:pt idx="39">
                  <c:v>3.II.21</c:v>
                </c:pt>
                <c:pt idx="40">
                  <c:v>4.II.21</c:v>
                </c:pt>
                <c:pt idx="41">
                  <c:v>5.II.21</c:v>
                </c:pt>
                <c:pt idx="42">
                  <c:v>6.II.21</c:v>
                </c:pt>
                <c:pt idx="43">
                  <c:v>7.II.21</c:v>
                </c:pt>
                <c:pt idx="44">
                  <c:v>8.II.21</c:v>
                </c:pt>
                <c:pt idx="45">
                  <c:v>9.II.21</c:v>
                </c:pt>
                <c:pt idx="46">
                  <c:v>10.II.21</c:v>
                </c:pt>
                <c:pt idx="47">
                  <c:v>11.II.21</c:v>
                </c:pt>
                <c:pt idx="48">
                  <c:v>12.II.21</c:v>
                </c:pt>
                <c:pt idx="49">
                  <c:v>13.II.21</c:v>
                </c:pt>
                <c:pt idx="50">
                  <c:v>14.II.21</c:v>
                </c:pt>
                <c:pt idx="51">
                  <c:v>15.II.21</c:v>
                </c:pt>
                <c:pt idx="52">
                  <c:v>16.II.21</c:v>
                </c:pt>
                <c:pt idx="53">
                  <c:v>17.II.21</c:v>
                </c:pt>
                <c:pt idx="54">
                  <c:v>18.II.21</c:v>
                </c:pt>
                <c:pt idx="55">
                  <c:v>19.II.21</c:v>
                </c:pt>
                <c:pt idx="56">
                  <c:v>20.II.21</c:v>
                </c:pt>
                <c:pt idx="57">
                  <c:v>21.II.21</c:v>
                </c:pt>
                <c:pt idx="58">
                  <c:v>22.II.21</c:v>
                </c:pt>
                <c:pt idx="59">
                  <c:v>23.II.21</c:v>
                </c:pt>
                <c:pt idx="60">
                  <c:v>24.II.21</c:v>
                </c:pt>
                <c:pt idx="61">
                  <c:v>25.II.21</c:v>
                </c:pt>
                <c:pt idx="62">
                  <c:v>26.II.21</c:v>
                </c:pt>
                <c:pt idx="63">
                  <c:v>27.II.21</c:v>
                </c:pt>
                <c:pt idx="64">
                  <c:v>28.II.21</c:v>
                </c:pt>
                <c:pt idx="65">
                  <c:v>1.III.21</c:v>
                </c:pt>
                <c:pt idx="66">
                  <c:v>2.III.21</c:v>
                </c:pt>
                <c:pt idx="67">
                  <c:v>3.III.21</c:v>
                </c:pt>
                <c:pt idx="68">
                  <c:v>4.III.21</c:v>
                </c:pt>
                <c:pt idx="69">
                  <c:v>5.III.21</c:v>
                </c:pt>
                <c:pt idx="70">
                  <c:v>6.III.21</c:v>
                </c:pt>
                <c:pt idx="71">
                  <c:v>7.III.21</c:v>
                </c:pt>
                <c:pt idx="72">
                  <c:v>8.III.21</c:v>
                </c:pt>
                <c:pt idx="73">
                  <c:v>9.III.21</c:v>
                </c:pt>
                <c:pt idx="74">
                  <c:v>10.III.21</c:v>
                </c:pt>
                <c:pt idx="75">
                  <c:v>11.III.21</c:v>
                </c:pt>
                <c:pt idx="76">
                  <c:v>12.III.21</c:v>
                </c:pt>
                <c:pt idx="77">
                  <c:v>13.III.21</c:v>
                </c:pt>
                <c:pt idx="78">
                  <c:v>14.III.21</c:v>
                </c:pt>
                <c:pt idx="79">
                  <c:v>15.III.21</c:v>
                </c:pt>
                <c:pt idx="80">
                  <c:v>16.III.21</c:v>
                </c:pt>
                <c:pt idx="81">
                  <c:v>17.III.21</c:v>
                </c:pt>
                <c:pt idx="82">
                  <c:v>18.III.21</c:v>
                </c:pt>
                <c:pt idx="83">
                  <c:v>19.III.21</c:v>
                </c:pt>
                <c:pt idx="84">
                  <c:v>20.III.21</c:v>
                </c:pt>
                <c:pt idx="85">
                  <c:v>21.III.21</c:v>
                </c:pt>
                <c:pt idx="86">
                  <c:v>22.III.21</c:v>
                </c:pt>
                <c:pt idx="87">
                  <c:v>23.III.21</c:v>
                </c:pt>
                <c:pt idx="88">
                  <c:v>24.III.21</c:v>
                </c:pt>
                <c:pt idx="89">
                  <c:v>25.III.21</c:v>
                </c:pt>
                <c:pt idx="90">
                  <c:v>26.III.21</c:v>
                </c:pt>
                <c:pt idx="91">
                  <c:v>27.III.21</c:v>
                </c:pt>
                <c:pt idx="92">
                  <c:v>28.III.21</c:v>
                </c:pt>
                <c:pt idx="93">
                  <c:v>29.III.21</c:v>
                </c:pt>
                <c:pt idx="94">
                  <c:v>30.III.21</c:v>
                </c:pt>
                <c:pt idx="95">
                  <c:v>31.III.21</c:v>
                </c:pt>
                <c:pt idx="96">
                  <c:v>1.IV.21</c:v>
                </c:pt>
                <c:pt idx="97">
                  <c:v>2.IV.21</c:v>
                </c:pt>
                <c:pt idx="98">
                  <c:v>3.IV.21</c:v>
                </c:pt>
                <c:pt idx="99">
                  <c:v>4.IV.21</c:v>
                </c:pt>
                <c:pt idx="100">
                  <c:v>5.IV.21</c:v>
                </c:pt>
                <c:pt idx="101">
                  <c:v>6.IV.21</c:v>
                </c:pt>
                <c:pt idx="102">
                  <c:v>7.IV.21</c:v>
                </c:pt>
                <c:pt idx="103">
                  <c:v>8.IV.21</c:v>
                </c:pt>
                <c:pt idx="104">
                  <c:v>9.IV.21</c:v>
                </c:pt>
                <c:pt idx="105">
                  <c:v>10.IV.21</c:v>
                </c:pt>
                <c:pt idx="106">
                  <c:v>11.IV.21</c:v>
                </c:pt>
                <c:pt idx="107">
                  <c:v>12.IV.21</c:v>
                </c:pt>
                <c:pt idx="108">
                  <c:v>13.IV.21</c:v>
                </c:pt>
                <c:pt idx="109">
                  <c:v>14.IV.21</c:v>
                </c:pt>
                <c:pt idx="110">
                  <c:v>15.IV.21</c:v>
                </c:pt>
                <c:pt idx="111">
                  <c:v>16.IV.21</c:v>
                </c:pt>
                <c:pt idx="112">
                  <c:v>17.IV.21</c:v>
                </c:pt>
                <c:pt idx="113">
                  <c:v>18.IV.21</c:v>
                </c:pt>
                <c:pt idx="114">
                  <c:v>19.IV.21</c:v>
                </c:pt>
                <c:pt idx="115">
                  <c:v>20.IV.21</c:v>
                </c:pt>
                <c:pt idx="116">
                  <c:v>21.IV.21</c:v>
                </c:pt>
                <c:pt idx="117">
                  <c:v>22.IV.21</c:v>
                </c:pt>
                <c:pt idx="118">
                  <c:v>23.IV.21</c:v>
                </c:pt>
                <c:pt idx="119">
                  <c:v>24.IV.21</c:v>
                </c:pt>
                <c:pt idx="120">
                  <c:v>25.IV.21</c:v>
                </c:pt>
                <c:pt idx="121">
                  <c:v>26.IV.21</c:v>
                </c:pt>
                <c:pt idx="122">
                  <c:v>27.IV.21</c:v>
                </c:pt>
                <c:pt idx="123">
                  <c:v>28.IV.21</c:v>
                </c:pt>
                <c:pt idx="124">
                  <c:v>29.IV.21</c:v>
                </c:pt>
                <c:pt idx="125">
                  <c:v>30.IV.21</c:v>
                </c:pt>
                <c:pt idx="126">
                  <c:v>1.V.21</c:v>
                </c:pt>
                <c:pt idx="127">
                  <c:v>2.V.21</c:v>
                </c:pt>
                <c:pt idx="128">
                  <c:v>3.V.21</c:v>
                </c:pt>
                <c:pt idx="129">
                  <c:v>4.V.21</c:v>
                </c:pt>
                <c:pt idx="130">
                  <c:v>5.V.21</c:v>
                </c:pt>
                <c:pt idx="131">
                  <c:v>6.V.21</c:v>
                </c:pt>
                <c:pt idx="132">
                  <c:v>7.V.21</c:v>
                </c:pt>
                <c:pt idx="133">
                  <c:v>8.V.21</c:v>
                </c:pt>
                <c:pt idx="134">
                  <c:v>9.V.21</c:v>
                </c:pt>
                <c:pt idx="135">
                  <c:v>10.V.21</c:v>
                </c:pt>
                <c:pt idx="136">
                  <c:v>11.V.21</c:v>
                </c:pt>
                <c:pt idx="137">
                  <c:v>12.V.21</c:v>
                </c:pt>
                <c:pt idx="138">
                  <c:v>13.V.21</c:v>
                </c:pt>
                <c:pt idx="139">
                  <c:v>14.V.21</c:v>
                </c:pt>
                <c:pt idx="140">
                  <c:v>15.V.21</c:v>
                </c:pt>
                <c:pt idx="141">
                  <c:v>16.V.21</c:v>
                </c:pt>
                <c:pt idx="142">
                  <c:v>17.V.21</c:v>
                </c:pt>
                <c:pt idx="143">
                  <c:v>18.V.21</c:v>
                </c:pt>
                <c:pt idx="144">
                  <c:v>19.V.21</c:v>
                </c:pt>
                <c:pt idx="145">
                  <c:v>20.V.21</c:v>
                </c:pt>
                <c:pt idx="146">
                  <c:v>21.V.21</c:v>
                </c:pt>
                <c:pt idx="147">
                  <c:v>22.V.21</c:v>
                </c:pt>
                <c:pt idx="148">
                  <c:v>23.V.21</c:v>
                </c:pt>
                <c:pt idx="149">
                  <c:v>24.V.21</c:v>
                </c:pt>
                <c:pt idx="150">
                  <c:v>25.V.21</c:v>
                </c:pt>
                <c:pt idx="151">
                  <c:v>26.V.21</c:v>
                </c:pt>
                <c:pt idx="152">
                  <c:v>27.V.21</c:v>
                </c:pt>
                <c:pt idx="153">
                  <c:v>28.V.21</c:v>
                </c:pt>
                <c:pt idx="154">
                  <c:v>29.V.21</c:v>
                </c:pt>
                <c:pt idx="155">
                  <c:v>30.V.21</c:v>
                </c:pt>
                <c:pt idx="156">
                  <c:v>31.V.21</c:v>
                </c:pt>
                <c:pt idx="157">
                  <c:v>1.VI.21</c:v>
                </c:pt>
                <c:pt idx="158">
                  <c:v>2.VI.21</c:v>
                </c:pt>
                <c:pt idx="159">
                  <c:v>3.VI.21</c:v>
                </c:pt>
                <c:pt idx="160">
                  <c:v>4.VI.21</c:v>
                </c:pt>
                <c:pt idx="161">
                  <c:v>5.VI.21</c:v>
                </c:pt>
                <c:pt idx="162">
                  <c:v>6.VI.21</c:v>
                </c:pt>
                <c:pt idx="163">
                  <c:v>7.VI.21</c:v>
                </c:pt>
                <c:pt idx="164">
                  <c:v>8.VI.21</c:v>
                </c:pt>
                <c:pt idx="165">
                  <c:v>9.VI.21</c:v>
                </c:pt>
                <c:pt idx="166">
                  <c:v>10.VI.21</c:v>
                </c:pt>
                <c:pt idx="167">
                  <c:v>11.VI.21</c:v>
                </c:pt>
                <c:pt idx="168">
                  <c:v>12.VI.21</c:v>
                </c:pt>
                <c:pt idx="169">
                  <c:v>13.VI.21</c:v>
                </c:pt>
                <c:pt idx="170">
                  <c:v>14.VI.21</c:v>
                </c:pt>
                <c:pt idx="171">
                  <c:v>15.VI.21</c:v>
                </c:pt>
                <c:pt idx="172">
                  <c:v>16.VI.21</c:v>
                </c:pt>
                <c:pt idx="173">
                  <c:v>17.VI.21</c:v>
                </c:pt>
                <c:pt idx="174">
                  <c:v>18.VI.21</c:v>
                </c:pt>
                <c:pt idx="175">
                  <c:v>19.VI.21</c:v>
                </c:pt>
                <c:pt idx="176">
                  <c:v>20.VI.21</c:v>
                </c:pt>
                <c:pt idx="177">
                  <c:v>21.VI.21</c:v>
                </c:pt>
                <c:pt idx="178">
                  <c:v>22.VI.21</c:v>
                </c:pt>
                <c:pt idx="179">
                  <c:v>23.VI.21</c:v>
                </c:pt>
                <c:pt idx="180">
                  <c:v>24.VI.21</c:v>
                </c:pt>
                <c:pt idx="181">
                  <c:v>25.VI.21</c:v>
                </c:pt>
                <c:pt idx="182">
                  <c:v>26.VI.21</c:v>
                </c:pt>
                <c:pt idx="183">
                  <c:v>27.VI.21</c:v>
                </c:pt>
                <c:pt idx="184">
                  <c:v>28.VI.21</c:v>
                </c:pt>
                <c:pt idx="185">
                  <c:v>29.VI.21</c:v>
                </c:pt>
                <c:pt idx="186">
                  <c:v>30.VI.21</c:v>
                </c:pt>
                <c:pt idx="187">
                  <c:v>1.VII.21</c:v>
                </c:pt>
                <c:pt idx="188">
                  <c:v>2.VII.21</c:v>
                </c:pt>
                <c:pt idx="189">
                  <c:v>3.VII.21</c:v>
                </c:pt>
                <c:pt idx="190">
                  <c:v>4.VII.21</c:v>
                </c:pt>
                <c:pt idx="191">
                  <c:v>5.VII.21</c:v>
                </c:pt>
                <c:pt idx="192">
                  <c:v>6.VII.21</c:v>
                </c:pt>
                <c:pt idx="193">
                  <c:v>7.VII.21</c:v>
                </c:pt>
                <c:pt idx="194">
                  <c:v>8.VII.21</c:v>
                </c:pt>
                <c:pt idx="195">
                  <c:v>9.VII.21</c:v>
                </c:pt>
                <c:pt idx="196">
                  <c:v>10.VII.21</c:v>
                </c:pt>
                <c:pt idx="197">
                  <c:v>11.VII.21</c:v>
                </c:pt>
                <c:pt idx="198">
                  <c:v>12.VII.21</c:v>
                </c:pt>
                <c:pt idx="199">
                  <c:v>13.VII.21</c:v>
                </c:pt>
                <c:pt idx="200">
                  <c:v>14.VII.21</c:v>
                </c:pt>
                <c:pt idx="201">
                  <c:v>15.VII.21</c:v>
                </c:pt>
                <c:pt idx="202">
                  <c:v>16.VII.21</c:v>
                </c:pt>
                <c:pt idx="203">
                  <c:v>17.VII.21</c:v>
                </c:pt>
                <c:pt idx="204">
                  <c:v>18.VII.21</c:v>
                </c:pt>
                <c:pt idx="205">
                  <c:v>19.VII.21</c:v>
                </c:pt>
                <c:pt idx="206">
                  <c:v>20.VII.21</c:v>
                </c:pt>
                <c:pt idx="207">
                  <c:v>21.VII.21</c:v>
                </c:pt>
                <c:pt idx="208">
                  <c:v>22.VII.21</c:v>
                </c:pt>
                <c:pt idx="209">
                  <c:v>23.VII.21</c:v>
                </c:pt>
                <c:pt idx="210">
                  <c:v>24.VII.21</c:v>
                </c:pt>
                <c:pt idx="211">
                  <c:v>25.VII.21</c:v>
                </c:pt>
                <c:pt idx="212">
                  <c:v>26.VII.21</c:v>
                </c:pt>
                <c:pt idx="213">
                  <c:v>27.VII.21</c:v>
                </c:pt>
                <c:pt idx="214">
                  <c:v>28.VII.21</c:v>
                </c:pt>
                <c:pt idx="215">
                  <c:v>29.VII.21</c:v>
                </c:pt>
                <c:pt idx="216">
                  <c:v>30.VII.21</c:v>
                </c:pt>
                <c:pt idx="217">
                  <c:v>31.VII.21</c:v>
                </c:pt>
                <c:pt idx="218">
                  <c:v>1.VIII.21</c:v>
                </c:pt>
                <c:pt idx="219">
                  <c:v>2.VIII.21</c:v>
                </c:pt>
                <c:pt idx="220">
                  <c:v>3.VIII.21</c:v>
                </c:pt>
                <c:pt idx="221">
                  <c:v>4.VIII.21</c:v>
                </c:pt>
                <c:pt idx="222">
                  <c:v>5.VIII.21</c:v>
                </c:pt>
                <c:pt idx="223">
                  <c:v>6.VIII.21</c:v>
                </c:pt>
                <c:pt idx="224">
                  <c:v>7.VIII.21</c:v>
                </c:pt>
                <c:pt idx="225">
                  <c:v>8.VIII.21</c:v>
                </c:pt>
                <c:pt idx="226">
                  <c:v>9.VIII.21</c:v>
                </c:pt>
                <c:pt idx="227">
                  <c:v>10.VIII.21</c:v>
                </c:pt>
                <c:pt idx="228">
                  <c:v>11.VIII.21</c:v>
                </c:pt>
                <c:pt idx="229">
                  <c:v>12.VIII.21</c:v>
                </c:pt>
                <c:pt idx="230">
                  <c:v>13.VIII.21</c:v>
                </c:pt>
                <c:pt idx="231">
                  <c:v>14.VIII.21</c:v>
                </c:pt>
                <c:pt idx="232">
                  <c:v>15.VIII.21</c:v>
                </c:pt>
                <c:pt idx="233">
                  <c:v>16.VIII.21</c:v>
                </c:pt>
                <c:pt idx="234">
                  <c:v>17.VIII.21</c:v>
                </c:pt>
                <c:pt idx="235">
                  <c:v>18.VIII.21</c:v>
                </c:pt>
                <c:pt idx="236">
                  <c:v>19.VIII.21</c:v>
                </c:pt>
                <c:pt idx="237">
                  <c:v>20.VIII.21</c:v>
                </c:pt>
                <c:pt idx="238">
                  <c:v>21.VIII.21</c:v>
                </c:pt>
                <c:pt idx="239">
                  <c:v>22.VIII.21</c:v>
                </c:pt>
                <c:pt idx="240">
                  <c:v>23.VIII.21</c:v>
                </c:pt>
                <c:pt idx="241">
                  <c:v>24.VIII.21</c:v>
                </c:pt>
                <c:pt idx="242">
                  <c:v>25.VIII.21</c:v>
                </c:pt>
                <c:pt idx="243">
                  <c:v>26.VIII.21</c:v>
                </c:pt>
                <c:pt idx="244">
                  <c:v>27.VIII.21</c:v>
                </c:pt>
                <c:pt idx="245">
                  <c:v>28.VIII.21</c:v>
                </c:pt>
                <c:pt idx="246">
                  <c:v>29.VIII.21</c:v>
                </c:pt>
                <c:pt idx="247">
                  <c:v>30.VIII.21</c:v>
                </c:pt>
                <c:pt idx="248">
                  <c:v>31.VIII.21</c:v>
                </c:pt>
                <c:pt idx="249">
                  <c:v>1.IX.21</c:v>
                </c:pt>
                <c:pt idx="250">
                  <c:v>2.IX.21</c:v>
                </c:pt>
                <c:pt idx="251">
                  <c:v>3.IX.21</c:v>
                </c:pt>
                <c:pt idx="252">
                  <c:v>4.IX.21</c:v>
                </c:pt>
                <c:pt idx="253">
                  <c:v>5.IX.21</c:v>
                </c:pt>
                <c:pt idx="254">
                  <c:v>6.IX.21</c:v>
                </c:pt>
                <c:pt idx="255">
                  <c:v>7.IX.21</c:v>
                </c:pt>
                <c:pt idx="256">
                  <c:v>8.IX.21</c:v>
                </c:pt>
                <c:pt idx="257">
                  <c:v>9.IX.21</c:v>
                </c:pt>
                <c:pt idx="258">
                  <c:v>10.IX.21</c:v>
                </c:pt>
                <c:pt idx="259">
                  <c:v>11.IX.21</c:v>
                </c:pt>
                <c:pt idx="260">
                  <c:v>12.IX.21</c:v>
                </c:pt>
                <c:pt idx="261">
                  <c:v>13.IX.21</c:v>
                </c:pt>
                <c:pt idx="262">
                  <c:v>14.IX.21</c:v>
                </c:pt>
                <c:pt idx="263">
                  <c:v>15.IX.21</c:v>
                </c:pt>
                <c:pt idx="264">
                  <c:v>16.IX.21</c:v>
                </c:pt>
                <c:pt idx="265">
                  <c:v>17.IX.21</c:v>
                </c:pt>
                <c:pt idx="266">
                  <c:v>18.IX.21</c:v>
                </c:pt>
                <c:pt idx="267">
                  <c:v>19.IX.21</c:v>
                </c:pt>
                <c:pt idx="268">
                  <c:v>20.IX.21</c:v>
                </c:pt>
                <c:pt idx="269">
                  <c:v>21.IX.21</c:v>
                </c:pt>
                <c:pt idx="270">
                  <c:v>22.IX.21</c:v>
                </c:pt>
                <c:pt idx="271">
                  <c:v>23.IX.21</c:v>
                </c:pt>
                <c:pt idx="272">
                  <c:v>24.IX.21</c:v>
                </c:pt>
                <c:pt idx="273">
                  <c:v>25.IX.21</c:v>
                </c:pt>
                <c:pt idx="274">
                  <c:v>26.IX.21</c:v>
                </c:pt>
                <c:pt idx="275">
                  <c:v>27.IX.21</c:v>
                </c:pt>
                <c:pt idx="276">
                  <c:v>28.IX.21</c:v>
                </c:pt>
                <c:pt idx="277">
                  <c:v>29.IX.21</c:v>
                </c:pt>
                <c:pt idx="278">
                  <c:v>30.IX.21</c:v>
                </c:pt>
                <c:pt idx="279">
                  <c:v>1.X.21</c:v>
                </c:pt>
                <c:pt idx="280">
                  <c:v>2.X.21</c:v>
                </c:pt>
                <c:pt idx="281">
                  <c:v>3.X.21</c:v>
                </c:pt>
                <c:pt idx="282">
                  <c:v>4.X.21</c:v>
                </c:pt>
                <c:pt idx="283">
                  <c:v>5.X.21</c:v>
                </c:pt>
                <c:pt idx="284">
                  <c:v>6.X.21</c:v>
                </c:pt>
                <c:pt idx="285">
                  <c:v>7.X.21</c:v>
                </c:pt>
                <c:pt idx="286">
                  <c:v>8.X.21</c:v>
                </c:pt>
                <c:pt idx="287">
                  <c:v>9.X.21</c:v>
                </c:pt>
                <c:pt idx="288">
                  <c:v>10.X.21</c:v>
                </c:pt>
                <c:pt idx="289">
                  <c:v>11.X.21</c:v>
                </c:pt>
                <c:pt idx="290">
                  <c:v>12.X.21</c:v>
                </c:pt>
                <c:pt idx="291">
                  <c:v>13.X.21</c:v>
                </c:pt>
                <c:pt idx="292">
                  <c:v>14.X.21</c:v>
                </c:pt>
                <c:pt idx="293">
                  <c:v>15.X.21</c:v>
                </c:pt>
                <c:pt idx="294">
                  <c:v>16.X.21</c:v>
                </c:pt>
                <c:pt idx="295">
                  <c:v>17.X.21</c:v>
                </c:pt>
                <c:pt idx="296">
                  <c:v>18.X.21</c:v>
                </c:pt>
                <c:pt idx="297">
                  <c:v>19.X.21</c:v>
                </c:pt>
                <c:pt idx="298">
                  <c:v>20.X.21</c:v>
                </c:pt>
                <c:pt idx="299">
                  <c:v>21.X.21</c:v>
                </c:pt>
                <c:pt idx="300">
                  <c:v>22.X.21</c:v>
                </c:pt>
                <c:pt idx="301">
                  <c:v>23.X.21</c:v>
                </c:pt>
                <c:pt idx="302">
                  <c:v>24.X.21</c:v>
                </c:pt>
                <c:pt idx="303">
                  <c:v>25.X.21</c:v>
                </c:pt>
                <c:pt idx="304">
                  <c:v>26.X.21</c:v>
                </c:pt>
                <c:pt idx="305">
                  <c:v>27.X.21</c:v>
                </c:pt>
                <c:pt idx="306">
                  <c:v>28.X.21</c:v>
                </c:pt>
                <c:pt idx="307">
                  <c:v>29.X.21</c:v>
                </c:pt>
                <c:pt idx="308">
                  <c:v>30.X.21</c:v>
                </c:pt>
                <c:pt idx="309">
                  <c:v>31.X.21</c:v>
                </c:pt>
                <c:pt idx="310">
                  <c:v>1.XI.21</c:v>
                </c:pt>
                <c:pt idx="311">
                  <c:v>2.XI.21</c:v>
                </c:pt>
                <c:pt idx="312">
                  <c:v>3.XI.21</c:v>
                </c:pt>
                <c:pt idx="313">
                  <c:v>4.XI.21</c:v>
                </c:pt>
                <c:pt idx="314">
                  <c:v>5.XI.21</c:v>
                </c:pt>
                <c:pt idx="315">
                  <c:v>6.XI.21</c:v>
                </c:pt>
                <c:pt idx="316">
                  <c:v>7.XI.21</c:v>
                </c:pt>
                <c:pt idx="317">
                  <c:v>8.XI.21</c:v>
                </c:pt>
                <c:pt idx="318">
                  <c:v>9.XI.21</c:v>
                </c:pt>
                <c:pt idx="319">
                  <c:v>10.XI.21</c:v>
                </c:pt>
                <c:pt idx="320">
                  <c:v>11.XI.21</c:v>
                </c:pt>
                <c:pt idx="321">
                  <c:v>12.XI.21</c:v>
                </c:pt>
                <c:pt idx="322">
                  <c:v>13.XI.21</c:v>
                </c:pt>
                <c:pt idx="323">
                  <c:v>14.XI.21</c:v>
                </c:pt>
                <c:pt idx="324">
                  <c:v>15.XI.21</c:v>
                </c:pt>
                <c:pt idx="325">
                  <c:v>16.XI.21</c:v>
                </c:pt>
                <c:pt idx="326">
                  <c:v>17.XI.21</c:v>
                </c:pt>
                <c:pt idx="327">
                  <c:v>18.XI.21</c:v>
                </c:pt>
                <c:pt idx="328">
                  <c:v>19.XI.21</c:v>
                </c:pt>
                <c:pt idx="329">
                  <c:v>20.XI.21</c:v>
                </c:pt>
                <c:pt idx="330">
                  <c:v>21.XI.21</c:v>
                </c:pt>
                <c:pt idx="331">
                  <c:v>22.XI.21</c:v>
                </c:pt>
                <c:pt idx="332">
                  <c:v>23.XI.21</c:v>
                </c:pt>
                <c:pt idx="333">
                  <c:v>24.XI.21</c:v>
                </c:pt>
                <c:pt idx="334">
                  <c:v>25.XI.21</c:v>
                </c:pt>
                <c:pt idx="335">
                  <c:v>26.XI.21</c:v>
                </c:pt>
                <c:pt idx="336">
                  <c:v>27.XI.21</c:v>
                </c:pt>
                <c:pt idx="337">
                  <c:v>28.XI.21</c:v>
                </c:pt>
                <c:pt idx="338">
                  <c:v>29.XI.21</c:v>
                </c:pt>
                <c:pt idx="339">
                  <c:v>30.XI.21</c:v>
                </c:pt>
                <c:pt idx="340">
                  <c:v>1.XII.21</c:v>
                </c:pt>
                <c:pt idx="341">
                  <c:v>2.XII.21</c:v>
                </c:pt>
                <c:pt idx="342">
                  <c:v>3.XII.21</c:v>
                </c:pt>
                <c:pt idx="343">
                  <c:v>4.XII.21</c:v>
                </c:pt>
                <c:pt idx="344">
                  <c:v>5.XII.21</c:v>
                </c:pt>
                <c:pt idx="345">
                  <c:v>6.XII.21</c:v>
                </c:pt>
                <c:pt idx="346">
                  <c:v>7.XII.21</c:v>
                </c:pt>
                <c:pt idx="347">
                  <c:v>8.XII.21</c:v>
                </c:pt>
                <c:pt idx="348">
                  <c:v>9.XII.21</c:v>
                </c:pt>
                <c:pt idx="349">
                  <c:v>10.XII.21</c:v>
                </c:pt>
                <c:pt idx="350">
                  <c:v>11.XII.21</c:v>
                </c:pt>
                <c:pt idx="351">
                  <c:v>12.XII.21</c:v>
                </c:pt>
                <c:pt idx="352">
                  <c:v>13.XII.21</c:v>
                </c:pt>
                <c:pt idx="353">
                  <c:v>14.XII.21</c:v>
                </c:pt>
                <c:pt idx="354">
                  <c:v>15.XII.21</c:v>
                </c:pt>
                <c:pt idx="355">
                  <c:v>16.XII.21</c:v>
                </c:pt>
                <c:pt idx="356">
                  <c:v>17.XII.21</c:v>
                </c:pt>
                <c:pt idx="357">
                  <c:v>18.XII.21</c:v>
                </c:pt>
                <c:pt idx="358">
                  <c:v>19.XII.21</c:v>
                </c:pt>
                <c:pt idx="359">
                  <c:v>20.XII.21</c:v>
                </c:pt>
                <c:pt idx="360">
                  <c:v>21.XII.21</c:v>
                </c:pt>
                <c:pt idx="361">
                  <c:v>22.XII.21</c:v>
                </c:pt>
                <c:pt idx="362">
                  <c:v>23.XII.21</c:v>
                </c:pt>
                <c:pt idx="363">
                  <c:v>24.XII.21</c:v>
                </c:pt>
                <c:pt idx="364">
                  <c:v>25.XII.21</c:v>
                </c:pt>
              </c:strCache>
            </c:strRef>
          </c:cat>
          <c:val>
            <c:numRef>
              <c:f>List1!$H$4:$NH$4</c:f>
              <c:numCache>
                <c:formatCode>General</c:formatCode>
                <c:ptCount val="365"/>
                <c:pt idx="1">
                  <c:v>194</c:v>
                </c:pt>
                <c:pt idx="2">
                  <c:v>641</c:v>
                </c:pt>
                <c:pt idx="3">
                  <c:v>1250</c:v>
                </c:pt>
                <c:pt idx="4">
                  <c:v>1875</c:v>
                </c:pt>
                <c:pt idx="5">
                  <c:v>2048</c:v>
                </c:pt>
                <c:pt idx="6">
                  <c:v>2077</c:v>
                </c:pt>
                <c:pt idx="7">
                  <c:v>2365</c:v>
                </c:pt>
                <c:pt idx="8">
                  <c:v>2576</c:v>
                </c:pt>
                <c:pt idx="9">
                  <c:v>3203</c:v>
                </c:pt>
                <c:pt idx="10">
                  <c:v>4167</c:v>
                </c:pt>
                <c:pt idx="11">
                  <c:v>5585</c:v>
                </c:pt>
                <c:pt idx="12">
                  <c:v>7185</c:v>
                </c:pt>
                <c:pt idx="13">
                  <c:v>9032</c:v>
                </c:pt>
                <c:pt idx="14">
                  <c:v>9340</c:v>
                </c:pt>
                <c:pt idx="15">
                  <c:v>9650</c:v>
                </c:pt>
                <c:pt idx="16">
                  <c:v>11517</c:v>
                </c:pt>
                <c:pt idx="17">
                  <c:v>13799</c:v>
                </c:pt>
                <c:pt idx="18">
                  <c:v>15842</c:v>
                </c:pt>
                <c:pt idx="19">
                  <c:v>17731</c:v>
                </c:pt>
                <c:pt idx="20">
                  <c:v>19342</c:v>
                </c:pt>
                <c:pt idx="21">
                  <c:v>19562</c:v>
                </c:pt>
                <c:pt idx="22">
                  <c:v>19658</c:v>
                </c:pt>
                <c:pt idx="23">
                  <c:v>20833</c:v>
                </c:pt>
                <c:pt idx="24">
                  <c:v>21767</c:v>
                </c:pt>
                <c:pt idx="25">
                  <c:v>22711</c:v>
                </c:pt>
                <c:pt idx="26">
                  <c:v>23568</c:v>
                </c:pt>
                <c:pt idx="27">
                  <c:v>24320</c:v>
                </c:pt>
                <c:pt idx="28">
                  <c:v>24384</c:v>
                </c:pt>
                <c:pt idx="29">
                  <c:v>24429</c:v>
                </c:pt>
                <c:pt idx="30">
                  <c:v>24879</c:v>
                </c:pt>
                <c:pt idx="31">
                  <c:v>25333</c:v>
                </c:pt>
                <c:pt idx="32">
                  <c:v>25730</c:v>
                </c:pt>
                <c:pt idx="33">
                  <c:v>26132</c:v>
                </c:pt>
                <c:pt idx="34">
                  <c:v>26516</c:v>
                </c:pt>
                <c:pt idx="35">
                  <c:v>26540</c:v>
                </c:pt>
                <c:pt idx="36">
                  <c:v>26572</c:v>
                </c:pt>
                <c:pt idx="37">
                  <c:v>26864</c:v>
                </c:pt>
                <c:pt idx="38">
                  <c:v>27154</c:v>
                </c:pt>
                <c:pt idx="39">
                  <c:v>27387</c:v>
                </c:pt>
                <c:pt idx="40">
                  <c:v>27571</c:v>
                </c:pt>
                <c:pt idx="41">
                  <c:v>27806</c:v>
                </c:pt>
                <c:pt idx="42">
                  <c:v>27815</c:v>
                </c:pt>
                <c:pt idx="43">
                  <c:v>27833</c:v>
                </c:pt>
                <c:pt idx="44">
                  <c:v>28070</c:v>
                </c:pt>
                <c:pt idx="45">
                  <c:v>28265</c:v>
                </c:pt>
                <c:pt idx="46">
                  <c:v>28532</c:v>
                </c:pt>
                <c:pt idx="47">
                  <c:v>28882</c:v>
                </c:pt>
                <c:pt idx="48">
                  <c:v>29274</c:v>
                </c:pt>
                <c:pt idx="49">
                  <c:v>29385</c:v>
                </c:pt>
                <c:pt idx="50">
                  <c:v>29451</c:v>
                </c:pt>
                <c:pt idx="51">
                  <c:v>29867</c:v>
                </c:pt>
                <c:pt idx="52">
                  <c:v>30373</c:v>
                </c:pt>
                <c:pt idx="53">
                  <c:v>30918</c:v>
                </c:pt>
                <c:pt idx="54">
                  <c:v>31476</c:v>
                </c:pt>
                <c:pt idx="55">
                  <c:v>32131</c:v>
                </c:pt>
                <c:pt idx="56">
                  <c:v>32357</c:v>
                </c:pt>
                <c:pt idx="57">
                  <c:v>32414</c:v>
                </c:pt>
                <c:pt idx="58">
                  <c:v>33100</c:v>
                </c:pt>
                <c:pt idx="59">
                  <c:v>34101</c:v>
                </c:pt>
                <c:pt idx="60">
                  <c:v>35178</c:v>
                </c:pt>
                <c:pt idx="61">
                  <c:v>36329</c:v>
                </c:pt>
                <c:pt idx="62">
                  <c:v>37405</c:v>
                </c:pt>
                <c:pt idx="63">
                  <c:v>37564</c:v>
                </c:pt>
                <c:pt idx="64">
                  <c:v>37694</c:v>
                </c:pt>
                <c:pt idx="65">
                  <c:v>38807</c:v>
                </c:pt>
                <c:pt idx="66">
                  <c:v>40018</c:v>
                </c:pt>
                <c:pt idx="67">
                  <c:v>41130</c:v>
                </c:pt>
                <c:pt idx="68">
                  <c:v>42131</c:v>
                </c:pt>
                <c:pt idx="69">
                  <c:v>43318</c:v>
                </c:pt>
                <c:pt idx="70">
                  <c:v>43606</c:v>
                </c:pt>
                <c:pt idx="71">
                  <c:v>43821</c:v>
                </c:pt>
                <c:pt idx="72">
                  <c:v>44664</c:v>
                </c:pt>
                <c:pt idx="73">
                  <c:v>45486</c:v>
                </c:pt>
                <c:pt idx="74">
                  <c:v>46383</c:v>
                </c:pt>
                <c:pt idx="75">
                  <c:v>47581</c:v>
                </c:pt>
                <c:pt idx="76">
                  <c:v>48693</c:v>
                </c:pt>
                <c:pt idx="77">
                  <c:v>48977</c:v>
                </c:pt>
                <c:pt idx="78">
                  <c:v>49218</c:v>
                </c:pt>
                <c:pt idx="79">
                  <c:v>49849</c:v>
                </c:pt>
                <c:pt idx="80">
                  <c:v>50779</c:v>
                </c:pt>
                <c:pt idx="81">
                  <c:v>51718</c:v>
                </c:pt>
                <c:pt idx="82">
                  <c:v>52496</c:v>
                </c:pt>
                <c:pt idx="83">
                  <c:v>53453</c:v>
                </c:pt>
                <c:pt idx="84">
                  <c:v>53853</c:v>
                </c:pt>
                <c:pt idx="85">
                  <c:v>54059</c:v>
                </c:pt>
                <c:pt idx="86">
                  <c:v>54507</c:v>
                </c:pt>
                <c:pt idx="87">
                  <c:v>55001</c:v>
                </c:pt>
                <c:pt idx="88">
                  <c:v>55418</c:v>
                </c:pt>
                <c:pt idx="89">
                  <c:v>55964</c:v>
                </c:pt>
                <c:pt idx="90">
                  <c:v>56542</c:v>
                </c:pt>
                <c:pt idx="91">
                  <c:v>56702</c:v>
                </c:pt>
                <c:pt idx="92">
                  <c:v>56838</c:v>
                </c:pt>
                <c:pt idx="93">
                  <c:v>57149</c:v>
                </c:pt>
                <c:pt idx="94">
                  <c:v>57571</c:v>
                </c:pt>
                <c:pt idx="95">
                  <c:v>58067</c:v>
                </c:pt>
                <c:pt idx="96">
                  <c:v>58497</c:v>
                </c:pt>
                <c:pt idx="97">
                  <c:v>58584</c:v>
                </c:pt>
                <c:pt idx="98">
                  <c:v>58642</c:v>
                </c:pt>
                <c:pt idx="99">
                  <c:v>58680</c:v>
                </c:pt>
                <c:pt idx="100">
                  <c:v>58709</c:v>
                </c:pt>
                <c:pt idx="101">
                  <c:v>58939</c:v>
                </c:pt>
                <c:pt idx="102">
                  <c:v>59202</c:v>
                </c:pt>
                <c:pt idx="103">
                  <c:v>59741</c:v>
                </c:pt>
                <c:pt idx="104">
                  <c:v>60243</c:v>
                </c:pt>
                <c:pt idx="105">
                  <c:v>60416</c:v>
                </c:pt>
                <c:pt idx="106">
                  <c:v>60532</c:v>
                </c:pt>
                <c:pt idx="107">
                  <c:v>60910</c:v>
                </c:pt>
                <c:pt idx="108">
                  <c:v>61223</c:v>
                </c:pt>
                <c:pt idx="109">
                  <c:v>61609</c:v>
                </c:pt>
                <c:pt idx="110">
                  <c:v>62160</c:v>
                </c:pt>
                <c:pt idx="111">
                  <c:v>62808</c:v>
                </c:pt>
                <c:pt idx="112">
                  <c:v>62985</c:v>
                </c:pt>
                <c:pt idx="113">
                  <c:v>63179</c:v>
                </c:pt>
                <c:pt idx="114">
                  <c:v>63636</c:v>
                </c:pt>
                <c:pt idx="115">
                  <c:v>64062</c:v>
                </c:pt>
                <c:pt idx="116">
                  <c:v>64561</c:v>
                </c:pt>
                <c:pt idx="117">
                  <c:v>65163</c:v>
                </c:pt>
                <c:pt idx="118">
                  <c:v>65812</c:v>
                </c:pt>
                <c:pt idx="119">
                  <c:v>65997</c:v>
                </c:pt>
                <c:pt idx="120">
                  <c:v>66148</c:v>
                </c:pt>
                <c:pt idx="121">
                  <c:v>66631</c:v>
                </c:pt>
                <c:pt idx="122">
                  <c:v>67054</c:v>
                </c:pt>
                <c:pt idx="123">
                  <c:v>67622</c:v>
                </c:pt>
                <c:pt idx="124">
                  <c:v>68209</c:v>
                </c:pt>
                <c:pt idx="125">
                  <c:v>68827</c:v>
                </c:pt>
                <c:pt idx="126">
                  <c:v>68981</c:v>
                </c:pt>
                <c:pt idx="127">
                  <c:v>69137</c:v>
                </c:pt>
                <c:pt idx="128">
                  <c:v>69593</c:v>
                </c:pt>
                <c:pt idx="129">
                  <c:v>70052</c:v>
                </c:pt>
                <c:pt idx="130">
                  <c:v>70578</c:v>
                </c:pt>
                <c:pt idx="131">
                  <c:v>71109</c:v>
                </c:pt>
                <c:pt idx="132">
                  <c:v>71673</c:v>
                </c:pt>
                <c:pt idx="133">
                  <c:v>71897</c:v>
                </c:pt>
                <c:pt idx="134">
                  <c:v>72069</c:v>
                </c:pt>
                <c:pt idx="135">
                  <c:v>72546</c:v>
                </c:pt>
                <c:pt idx="136">
                  <c:v>72979</c:v>
                </c:pt>
                <c:pt idx="137">
                  <c:v>73456</c:v>
                </c:pt>
                <c:pt idx="138">
                  <c:v>74004</c:v>
                </c:pt>
                <c:pt idx="139">
                  <c:v>74515</c:v>
                </c:pt>
                <c:pt idx="140">
                  <c:v>74725</c:v>
                </c:pt>
                <c:pt idx="141">
                  <c:v>74877</c:v>
                </c:pt>
                <c:pt idx="142">
                  <c:v>75267</c:v>
                </c:pt>
                <c:pt idx="143">
                  <c:v>75685</c:v>
                </c:pt>
                <c:pt idx="144">
                  <c:v>76150</c:v>
                </c:pt>
                <c:pt idx="145">
                  <c:v>76596</c:v>
                </c:pt>
                <c:pt idx="146">
                  <c:v>77053</c:v>
                </c:pt>
                <c:pt idx="147">
                  <c:v>77231</c:v>
                </c:pt>
                <c:pt idx="148">
                  <c:v>77347</c:v>
                </c:pt>
                <c:pt idx="149">
                  <c:v>77636</c:v>
                </c:pt>
                <c:pt idx="150">
                  <c:v>77966</c:v>
                </c:pt>
                <c:pt idx="151">
                  <c:v>78378</c:v>
                </c:pt>
                <c:pt idx="152">
                  <c:v>78754</c:v>
                </c:pt>
                <c:pt idx="153">
                  <c:v>79193</c:v>
                </c:pt>
                <c:pt idx="154">
                  <c:v>79381</c:v>
                </c:pt>
                <c:pt idx="155">
                  <c:v>79548</c:v>
                </c:pt>
                <c:pt idx="156">
                  <c:v>79891</c:v>
                </c:pt>
                <c:pt idx="157">
                  <c:v>80264</c:v>
                </c:pt>
                <c:pt idx="158">
                  <c:v>80717</c:v>
                </c:pt>
                <c:pt idx="159">
                  <c:v>81134</c:v>
                </c:pt>
                <c:pt idx="160">
                  <c:v>81600</c:v>
                </c:pt>
                <c:pt idx="161">
                  <c:v>81862</c:v>
                </c:pt>
                <c:pt idx="162">
                  <c:v>82106</c:v>
                </c:pt>
                <c:pt idx="163">
                  <c:v>82585</c:v>
                </c:pt>
                <c:pt idx="164">
                  <c:v>83134</c:v>
                </c:pt>
                <c:pt idx="165">
                  <c:v>83625</c:v>
                </c:pt>
                <c:pt idx="166">
                  <c:v>84059</c:v>
                </c:pt>
                <c:pt idx="167">
                  <c:v>84523</c:v>
                </c:pt>
                <c:pt idx="168">
                  <c:v>84814</c:v>
                </c:pt>
                <c:pt idx="169">
                  <c:v>85042</c:v>
                </c:pt>
                <c:pt idx="170">
                  <c:v>85398</c:v>
                </c:pt>
                <c:pt idx="171">
                  <c:v>85834</c:v>
                </c:pt>
                <c:pt idx="172">
                  <c:v>86223</c:v>
                </c:pt>
                <c:pt idx="173">
                  <c:v>86591</c:v>
                </c:pt>
                <c:pt idx="174">
                  <c:v>86973</c:v>
                </c:pt>
                <c:pt idx="175">
                  <c:v>87162</c:v>
                </c:pt>
                <c:pt idx="176">
                  <c:v>87304</c:v>
                </c:pt>
                <c:pt idx="177">
                  <c:v>87602</c:v>
                </c:pt>
                <c:pt idx="178">
                  <c:v>87921</c:v>
                </c:pt>
                <c:pt idx="179">
                  <c:v>88179</c:v>
                </c:pt>
                <c:pt idx="180">
                  <c:v>88469</c:v>
                </c:pt>
                <c:pt idx="181">
                  <c:v>88728</c:v>
                </c:pt>
                <c:pt idx="182">
                  <c:v>88880</c:v>
                </c:pt>
                <c:pt idx="183">
                  <c:v>88993</c:v>
                </c:pt>
                <c:pt idx="184">
                  <c:v>89266</c:v>
                </c:pt>
                <c:pt idx="185">
                  <c:v>89515</c:v>
                </c:pt>
                <c:pt idx="186">
                  <c:v>89759</c:v>
                </c:pt>
                <c:pt idx="187">
                  <c:v>89938</c:v>
                </c:pt>
                <c:pt idx="188">
                  <c:v>90175</c:v>
                </c:pt>
                <c:pt idx="189">
                  <c:v>90227</c:v>
                </c:pt>
                <c:pt idx="190">
                  <c:v>90287</c:v>
                </c:pt>
                <c:pt idx="191">
                  <c:v>90345</c:v>
                </c:pt>
                <c:pt idx="192">
                  <c:v>90405</c:v>
                </c:pt>
                <c:pt idx="193">
                  <c:v>90616</c:v>
                </c:pt>
                <c:pt idx="194">
                  <c:v>90834</c:v>
                </c:pt>
                <c:pt idx="195">
                  <c:v>91059</c:v>
                </c:pt>
                <c:pt idx="196">
                  <c:v>91152</c:v>
                </c:pt>
                <c:pt idx="197">
                  <c:v>91210</c:v>
                </c:pt>
                <c:pt idx="198">
                  <c:v>91446</c:v>
                </c:pt>
                <c:pt idx="199">
                  <c:v>91667</c:v>
                </c:pt>
                <c:pt idx="200">
                  <c:v>91908</c:v>
                </c:pt>
                <c:pt idx="201">
                  <c:v>92156</c:v>
                </c:pt>
                <c:pt idx="202">
                  <c:v>92408</c:v>
                </c:pt>
                <c:pt idx="203">
                  <c:v>92518</c:v>
                </c:pt>
                <c:pt idx="204">
                  <c:v>92587</c:v>
                </c:pt>
                <c:pt idx="205">
                  <c:v>92791</c:v>
                </c:pt>
                <c:pt idx="206">
                  <c:v>92952</c:v>
                </c:pt>
                <c:pt idx="207">
                  <c:v>93173</c:v>
                </c:pt>
                <c:pt idx="208">
                  <c:v>93354</c:v>
                </c:pt>
                <c:pt idx="209">
                  <c:v>93567</c:v>
                </c:pt>
                <c:pt idx="210">
                  <c:v>93629</c:v>
                </c:pt>
                <c:pt idx="211">
                  <c:v>93684</c:v>
                </c:pt>
                <c:pt idx="212">
                  <c:v>93864</c:v>
                </c:pt>
                <c:pt idx="213">
                  <c:v>94063</c:v>
                </c:pt>
                <c:pt idx="214">
                  <c:v>94239</c:v>
                </c:pt>
                <c:pt idx="215">
                  <c:v>94399</c:v>
                </c:pt>
                <c:pt idx="216">
                  <c:v>94611</c:v>
                </c:pt>
                <c:pt idx="217">
                  <c:v>94677</c:v>
                </c:pt>
                <c:pt idx="218">
                  <c:v>94726</c:v>
                </c:pt>
                <c:pt idx="219">
                  <c:v>94873</c:v>
                </c:pt>
                <c:pt idx="220">
                  <c:v>95003</c:v>
                </c:pt>
                <c:pt idx="221">
                  <c:v>95147</c:v>
                </c:pt>
                <c:pt idx="222">
                  <c:v>95273</c:v>
                </c:pt>
                <c:pt idx="223">
                  <c:v>95402</c:v>
                </c:pt>
                <c:pt idx="224">
                  <c:v>95440</c:v>
                </c:pt>
                <c:pt idx="225">
                  <c:v>95474</c:v>
                </c:pt>
                <c:pt idx="226">
                  <c:v>95578</c:v>
                </c:pt>
                <c:pt idx="227">
                  <c:v>95694</c:v>
                </c:pt>
                <c:pt idx="228">
                  <c:v>95767</c:v>
                </c:pt>
                <c:pt idx="229">
                  <c:v>95872</c:v>
                </c:pt>
                <c:pt idx="230">
                  <c:v>95976</c:v>
                </c:pt>
                <c:pt idx="231">
                  <c:v>96002</c:v>
                </c:pt>
                <c:pt idx="232">
                  <c:v>96021</c:v>
                </c:pt>
                <c:pt idx="233">
                  <c:v>96103</c:v>
                </c:pt>
                <c:pt idx="234">
                  <c:v>96182</c:v>
                </c:pt>
                <c:pt idx="235">
                  <c:v>96265</c:v>
                </c:pt>
                <c:pt idx="236">
                  <c:v>96337</c:v>
                </c:pt>
                <c:pt idx="237">
                  <c:v>96435</c:v>
                </c:pt>
                <c:pt idx="238">
                  <c:v>96453</c:v>
                </c:pt>
                <c:pt idx="239">
                  <c:v>96472</c:v>
                </c:pt>
                <c:pt idx="240">
                  <c:v>96566</c:v>
                </c:pt>
                <c:pt idx="241">
                  <c:v>96641</c:v>
                </c:pt>
                <c:pt idx="242">
                  <c:v>96718</c:v>
                </c:pt>
                <c:pt idx="243">
                  <c:v>96781</c:v>
                </c:pt>
                <c:pt idx="244">
                  <c:v>96884</c:v>
                </c:pt>
                <c:pt idx="245">
                  <c:v>96910</c:v>
                </c:pt>
                <c:pt idx="246">
                  <c:v>96920</c:v>
                </c:pt>
                <c:pt idx="247">
                  <c:v>96999</c:v>
                </c:pt>
                <c:pt idx="248">
                  <c:v>97078</c:v>
                </c:pt>
                <c:pt idx="249">
                  <c:v>97126</c:v>
                </c:pt>
                <c:pt idx="250">
                  <c:v>97200</c:v>
                </c:pt>
                <c:pt idx="251">
                  <c:v>97294</c:v>
                </c:pt>
                <c:pt idx="252">
                  <c:v>97309</c:v>
                </c:pt>
                <c:pt idx="253">
                  <c:v>97327</c:v>
                </c:pt>
                <c:pt idx="254">
                  <c:v>97391</c:v>
                </c:pt>
                <c:pt idx="255">
                  <c:v>97426</c:v>
                </c:pt>
                <c:pt idx="256">
                  <c:v>97479</c:v>
                </c:pt>
                <c:pt idx="257">
                  <c:v>97538</c:v>
                </c:pt>
                <c:pt idx="258">
                  <c:v>97608</c:v>
                </c:pt>
                <c:pt idx="259">
                  <c:v>97624</c:v>
                </c:pt>
                <c:pt idx="260">
                  <c:v>97637</c:v>
                </c:pt>
                <c:pt idx="261">
                  <c:v>97685</c:v>
                </c:pt>
                <c:pt idx="262">
                  <c:v>97736</c:v>
                </c:pt>
                <c:pt idx="263">
                  <c:v>97779</c:v>
                </c:pt>
                <c:pt idx="264">
                  <c:v>97825</c:v>
                </c:pt>
                <c:pt idx="265">
                  <c:v>97897</c:v>
                </c:pt>
                <c:pt idx="266">
                  <c:v>97916</c:v>
                </c:pt>
                <c:pt idx="267">
                  <c:v>97922</c:v>
                </c:pt>
                <c:pt idx="268">
                  <c:v>97966</c:v>
                </c:pt>
                <c:pt idx="269">
                  <c:v>98013</c:v>
                </c:pt>
                <c:pt idx="270">
                  <c:v>98055</c:v>
                </c:pt>
                <c:pt idx="271">
                  <c:v>98112</c:v>
                </c:pt>
                <c:pt idx="272">
                  <c:v>98181</c:v>
                </c:pt>
                <c:pt idx="273">
                  <c:v>98197</c:v>
                </c:pt>
                <c:pt idx="274">
                  <c:v>98203</c:v>
                </c:pt>
                <c:pt idx="275">
                  <c:v>98245</c:v>
                </c:pt>
                <c:pt idx="276">
                  <c:v>98251</c:v>
                </c:pt>
                <c:pt idx="277">
                  <c:v>98278</c:v>
                </c:pt>
                <c:pt idx="278">
                  <c:v>98324</c:v>
                </c:pt>
                <c:pt idx="279">
                  <c:v>98362</c:v>
                </c:pt>
                <c:pt idx="280">
                  <c:v>98370</c:v>
                </c:pt>
                <c:pt idx="281">
                  <c:v>98377</c:v>
                </c:pt>
                <c:pt idx="282">
                  <c:v>98408</c:v>
                </c:pt>
                <c:pt idx="283">
                  <c:v>98437</c:v>
                </c:pt>
                <c:pt idx="284">
                  <c:v>98475</c:v>
                </c:pt>
                <c:pt idx="285">
                  <c:v>98499</c:v>
                </c:pt>
                <c:pt idx="286">
                  <c:v>98547</c:v>
                </c:pt>
                <c:pt idx="287">
                  <c:v>98556</c:v>
                </c:pt>
                <c:pt idx="288">
                  <c:v>98563</c:v>
                </c:pt>
                <c:pt idx="289">
                  <c:v>98591</c:v>
                </c:pt>
                <c:pt idx="290">
                  <c:v>98637</c:v>
                </c:pt>
                <c:pt idx="291">
                  <c:v>98674</c:v>
                </c:pt>
                <c:pt idx="292">
                  <c:v>98702</c:v>
                </c:pt>
                <c:pt idx="293">
                  <c:v>98760</c:v>
                </c:pt>
                <c:pt idx="294">
                  <c:v>98777</c:v>
                </c:pt>
                <c:pt idx="295">
                  <c:v>98788</c:v>
                </c:pt>
                <c:pt idx="296">
                  <c:v>98846</c:v>
                </c:pt>
                <c:pt idx="297">
                  <c:v>98878</c:v>
                </c:pt>
                <c:pt idx="298">
                  <c:v>98937</c:v>
                </c:pt>
                <c:pt idx="299">
                  <c:v>99037</c:v>
                </c:pt>
                <c:pt idx="300">
                  <c:v>99181</c:v>
                </c:pt>
                <c:pt idx="301">
                  <c:v>99231</c:v>
                </c:pt>
                <c:pt idx="302">
                  <c:v>99265</c:v>
                </c:pt>
                <c:pt idx="303">
                  <c:v>99382</c:v>
                </c:pt>
                <c:pt idx="304">
                  <c:v>99539</c:v>
                </c:pt>
                <c:pt idx="305">
                  <c:v>99709</c:v>
                </c:pt>
                <c:pt idx="306">
                  <c:v>99748</c:v>
                </c:pt>
                <c:pt idx="307">
                  <c:v>99929</c:v>
                </c:pt>
                <c:pt idx="308">
                  <c:v>99979</c:v>
                </c:pt>
                <c:pt idx="309">
                  <c:v>100014</c:v>
                </c:pt>
                <c:pt idx="310">
                  <c:v>100218</c:v>
                </c:pt>
                <c:pt idx="311">
                  <c:v>100396</c:v>
                </c:pt>
                <c:pt idx="312">
                  <c:v>100588</c:v>
                </c:pt>
                <c:pt idx="313">
                  <c:v>100797</c:v>
                </c:pt>
                <c:pt idx="314">
                  <c:v>101048</c:v>
                </c:pt>
                <c:pt idx="315">
                  <c:v>101121</c:v>
                </c:pt>
                <c:pt idx="316">
                  <c:v>101165</c:v>
                </c:pt>
                <c:pt idx="317">
                  <c:v>101349</c:v>
                </c:pt>
                <c:pt idx="318">
                  <c:v>101499</c:v>
                </c:pt>
                <c:pt idx="319">
                  <c:v>101663</c:v>
                </c:pt>
                <c:pt idx="320">
                  <c:v>101851</c:v>
                </c:pt>
                <c:pt idx="321">
                  <c:v>102117</c:v>
                </c:pt>
                <c:pt idx="322">
                  <c:v>102171</c:v>
                </c:pt>
                <c:pt idx="323">
                  <c:v>102209</c:v>
                </c:pt>
                <c:pt idx="324">
                  <c:v>102392</c:v>
                </c:pt>
                <c:pt idx="325">
                  <c:v>102603</c:v>
                </c:pt>
                <c:pt idx="326">
                  <c:v>102643</c:v>
                </c:pt>
                <c:pt idx="327">
                  <c:v>102883</c:v>
                </c:pt>
                <c:pt idx="328">
                  <c:v>103162</c:v>
                </c:pt>
                <c:pt idx="329">
                  <c:v>103241</c:v>
                </c:pt>
                <c:pt idx="330">
                  <c:v>103305</c:v>
                </c:pt>
                <c:pt idx="331">
                  <c:v>103490</c:v>
                </c:pt>
                <c:pt idx="332">
                  <c:v>103684</c:v>
                </c:pt>
                <c:pt idx="333">
                  <c:v>103886</c:v>
                </c:pt>
                <c:pt idx="334">
                  <c:v>104098</c:v>
                </c:pt>
                <c:pt idx="335">
                  <c:v>104318</c:v>
                </c:pt>
                <c:pt idx="336">
                  <c:v>104396</c:v>
                </c:pt>
                <c:pt idx="337">
                  <c:v>104418</c:v>
                </c:pt>
                <c:pt idx="338">
                  <c:v>104587</c:v>
                </c:pt>
                <c:pt idx="339">
                  <c:v>104732</c:v>
                </c:pt>
                <c:pt idx="340">
                  <c:v>104890</c:v>
                </c:pt>
                <c:pt idx="341">
                  <c:v>105003</c:v>
                </c:pt>
                <c:pt idx="342">
                  <c:v>105120</c:v>
                </c:pt>
                <c:pt idx="343">
                  <c:v>105140</c:v>
                </c:pt>
                <c:pt idx="344">
                  <c:v>105148</c:v>
                </c:pt>
                <c:pt idx="345">
                  <c:v>105220</c:v>
                </c:pt>
                <c:pt idx="346">
                  <c:v>105296</c:v>
                </c:pt>
                <c:pt idx="347">
                  <c:v>105384</c:v>
                </c:pt>
                <c:pt idx="348">
                  <c:v>105458</c:v>
                </c:pt>
                <c:pt idx="349">
                  <c:v>105543</c:v>
                </c:pt>
                <c:pt idx="350">
                  <c:v>105562</c:v>
                </c:pt>
                <c:pt idx="351">
                  <c:v>105576</c:v>
                </c:pt>
                <c:pt idx="352">
                  <c:v>105651</c:v>
                </c:pt>
                <c:pt idx="353">
                  <c:v>105726</c:v>
                </c:pt>
                <c:pt idx="354">
                  <c:v>105771</c:v>
                </c:pt>
                <c:pt idx="355">
                  <c:v>105844</c:v>
                </c:pt>
                <c:pt idx="356">
                  <c:v>105934</c:v>
                </c:pt>
                <c:pt idx="357">
                  <c:v>105960</c:v>
                </c:pt>
                <c:pt idx="358">
                  <c:v>105968</c:v>
                </c:pt>
                <c:pt idx="359">
                  <c:v>106024</c:v>
                </c:pt>
                <c:pt idx="360">
                  <c:v>106081</c:v>
                </c:pt>
                <c:pt idx="361">
                  <c:v>106123</c:v>
                </c:pt>
                <c:pt idx="362">
                  <c:v>106133</c:v>
                </c:pt>
                <c:pt idx="363">
                  <c:v>106133</c:v>
                </c:pt>
                <c:pt idx="364">
                  <c:v>10613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9B2-46E3-85FE-A83BCF6CC085}"/>
            </c:ext>
          </c:extLst>
        </c:ser>
        <c:ser>
          <c:idx val="3"/>
          <c:order val="3"/>
          <c:tx>
            <c:strRef>
              <c:f>List1!$A$5</c:f>
              <c:strCache>
                <c:ptCount val="1"/>
                <c:pt idx="0">
                  <c:v>Lékaři</c:v>
                </c:pt>
              </c:strCache>
            </c:strRef>
          </c:tx>
          <c:spPr>
            <a:ln w="28575" cap="rnd">
              <a:solidFill>
                <a:srgbClr val="4472C4"/>
              </a:solidFill>
              <a:round/>
            </a:ln>
            <a:effectLst/>
          </c:spPr>
          <c:marker>
            <c:symbol val="none"/>
          </c:marker>
          <c:cat>
            <c:strRef>
              <c:f>List1!$H$1:$NH$1</c:f>
              <c:strCache>
                <c:ptCount val="365"/>
                <c:pt idx="0">
                  <c:v>26-XII.20</c:v>
                </c:pt>
                <c:pt idx="1">
                  <c:v>27.XII.20</c:v>
                </c:pt>
                <c:pt idx="2">
                  <c:v>28.XII.20</c:v>
                </c:pt>
                <c:pt idx="3">
                  <c:v>29.XII.20</c:v>
                </c:pt>
                <c:pt idx="4">
                  <c:v>30.XII.20</c:v>
                </c:pt>
                <c:pt idx="5">
                  <c:v>31.XII.20</c:v>
                </c:pt>
                <c:pt idx="6">
                  <c:v>1.I.21</c:v>
                </c:pt>
                <c:pt idx="7">
                  <c:v>2.I.21</c:v>
                </c:pt>
                <c:pt idx="8">
                  <c:v>3.I.21</c:v>
                </c:pt>
                <c:pt idx="9">
                  <c:v>4.I.21</c:v>
                </c:pt>
                <c:pt idx="10">
                  <c:v>5.I.21</c:v>
                </c:pt>
                <c:pt idx="11">
                  <c:v>6.I.21</c:v>
                </c:pt>
                <c:pt idx="12">
                  <c:v>7.I.21</c:v>
                </c:pt>
                <c:pt idx="13">
                  <c:v>8.I.21</c:v>
                </c:pt>
                <c:pt idx="14">
                  <c:v>9.I.21</c:v>
                </c:pt>
                <c:pt idx="15">
                  <c:v>10.I.21</c:v>
                </c:pt>
                <c:pt idx="16">
                  <c:v>11.I.21</c:v>
                </c:pt>
                <c:pt idx="17">
                  <c:v>12.I.21</c:v>
                </c:pt>
                <c:pt idx="18">
                  <c:v>13.I.21</c:v>
                </c:pt>
                <c:pt idx="19">
                  <c:v>14.I.21</c:v>
                </c:pt>
                <c:pt idx="20">
                  <c:v>15.I.21</c:v>
                </c:pt>
                <c:pt idx="21">
                  <c:v>16.I.21</c:v>
                </c:pt>
                <c:pt idx="22">
                  <c:v>17.I.21</c:v>
                </c:pt>
                <c:pt idx="23">
                  <c:v>18.I.21</c:v>
                </c:pt>
                <c:pt idx="24">
                  <c:v>19.I.21</c:v>
                </c:pt>
                <c:pt idx="25">
                  <c:v>20.I.21</c:v>
                </c:pt>
                <c:pt idx="26">
                  <c:v>21.I.21</c:v>
                </c:pt>
                <c:pt idx="27">
                  <c:v>22.I.21</c:v>
                </c:pt>
                <c:pt idx="28">
                  <c:v>23.I.21</c:v>
                </c:pt>
                <c:pt idx="29">
                  <c:v>24.I.21</c:v>
                </c:pt>
                <c:pt idx="30">
                  <c:v>25.I.21</c:v>
                </c:pt>
                <c:pt idx="31">
                  <c:v>26.I.21</c:v>
                </c:pt>
                <c:pt idx="32">
                  <c:v>27.I.21</c:v>
                </c:pt>
                <c:pt idx="33">
                  <c:v>28.I.21</c:v>
                </c:pt>
                <c:pt idx="34">
                  <c:v>29.I.21</c:v>
                </c:pt>
                <c:pt idx="35">
                  <c:v>30.I.21</c:v>
                </c:pt>
                <c:pt idx="36">
                  <c:v>31.I.21</c:v>
                </c:pt>
                <c:pt idx="37">
                  <c:v>1.II.21</c:v>
                </c:pt>
                <c:pt idx="38">
                  <c:v>2.II.21</c:v>
                </c:pt>
                <c:pt idx="39">
                  <c:v>3.II.21</c:v>
                </c:pt>
                <c:pt idx="40">
                  <c:v>4.II.21</c:v>
                </c:pt>
                <c:pt idx="41">
                  <c:v>5.II.21</c:v>
                </c:pt>
                <c:pt idx="42">
                  <c:v>6.II.21</c:v>
                </c:pt>
                <c:pt idx="43">
                  <c:v>7.II.21</c:v>
                </c:pt>
                <c:pt idx="44">
                  <c:v>8.II.21</c:v>
                </c:pt>
                <c:pt idx="45">
                  <c:v>9.II.21</c:v>
                </c:pt>
                <c:pt idx="46">
                  <c:v>10.II.21</c:v>
                </c:pt>
                <c:pt idx="47">
                  <c:v>11.II.21</c:v>
                </c:pt>
                <c:pt idx="48">
                  <c:v>12.II.21</c:v>
                </c:pt>
                <c:pt idx="49">
                  <c:v>13.II.21</c:v>
                </c:pt>
                <c:pt idx="50">
                  <c:v>14.II.21</c:v>
                </c:pt>
                <c:pt idx="51">
                  <c:v>15.II.21</c:v>
                </c:pt>
                <c:pt idx="52">
                  <c:v>16.II.21</c:v>
                </c:pt>
                <c:pt idx="53">
                  <c:v>17.II.21</c:v>
                </c:pt>
                <c:pt idx="54">
                  <c:v>18.II.21</c:v>
                </c:pt>
                <c:pt idx="55">
                  <c:v>19.II.21</c:v>
                </c:pt>
                <c:pt idx="56">
                  <c:v>20.II.21</c:v>
                </c:pt>
                <c:pt idx="57">
                  <c:v>21.II.21</c:v>
                </c:pt>
                <c:pt idx="58">
                  <c:v>22.II.21</c:v>
                </c:pt>
                <c:pt idx="59">
                  <c:v>23.II.21</c:v>
                </c:pt>
                <c:pt idx="60">
                  <c:v>24.II.21</c:v>
                </c:pt>
                <c:pt idx="61">
                  <c:v>25.II.21</c:v>
                </c:pt>
                <c:pt idx="62">
                  <c:v>26.II.21</c:v>
                </c:pt>
                <c:pt idx="63">
                  <c:v>27.II.21</c:v>
                </c:pt>
                <c:pt idx="64">
                  <c:v>28.II.21</c:v>
                </c:pt>
                <c:pt idx="65">
                  <c:v>1.III.21</c:v>
                </c:pt>
                <c:pt idx="66">
                  <c:v>2.III.21</c:v>
                </c:pt>
                <c:pt idx="67">
                  <c:v>3.III.21</c:v>
                </c:pt>
                <c:pt idx="68">
                  <c:v>4.III.21</c:v>
                </c:pt>
                <c:pt idx="69">
                  <c:v>5.III.21</c:v>
                </c:pt>
                <c:pt idx="70">
                  <c:v>6.III.21</c:v>
                </c:pt>
                <c:pt idx="71">
                  <c:v>7.III.21</c:v>
                </c:pt>
                <c:pt idx="72">
                  <c:v>8.III.21</c:v>
                </c:pt>
                <c:pt idx="73">
                  <c:v>9.III.21</c:v>
                </c:pt>
                <c:pt idx="74">
                  <c:v>10.III.21</c:v>
                </c:pt>
                <c:pt idx="75">
                  <c:v>11.III.21</c:v>
                </c:pt>
                <c:pt idx="76">
                  <c:v>12.III.21</c:v>
                </c:pt>
                <c:pt idx="77">
                  <c:v>13.III.21</c:v>
                </c:pt>
                <c:pt idx="78">
                  <c:v>14.III.21</c:v>
                </c:pt>
                <c:pt idx="79">
                  <c:v>15.III.21</c:v>
                </c:pt>
                <c:pt idx="80">
                  <c:v>16.III.21</c:v>
                </c:pt>
                <c:pt idx="81">
                  <c:v>17.III.21</c:v>
                </c:pt>
                <c:pt idx="82">
                  <c:v>18.III.21</c:v>
                </c:pt>
                <c:pt idx="83">
                  <c:v>19.III.21</c:v>
                </c:pt>
                <c:pt idx="84">
                  <c:v>20.III.21</c:v>
                </c:pt>
                <c:pt idx="85">
                  <c:v>21.III.21</c:v>
                </c:pt>
                <c:pt idx="86">
                  <c:v>22.III.21</c:v>
                </c:pt>
                <c:pt idx="87">
                  <c:v>23.III.21</c:v>
                </c:pt>
                <c:pt idx="88">
                  <c:v>24.III.21</c:v>
                </c:pt>
                <c:pt idx="89">
                  <c:v>25.III.21</c:v>
                </c:pt>
                <c:pt idx="90">
                  <c:v>26.III.21</c:v>
                </c:pt>
                <c:pt idx="91">
                  <c:v>27.III.21</c:v>
                </c:pt>
                <c:pt idx="92">
                  <c:v>28.III.21</c:v>
                </c:pt>
                <c:pt idx="93">
                  <c:v>29.III.21</c:v>
                </c:pt>
                <c:pt idx="94">
                  <c:v>30.III.21</c:v>
                </c:pt>
                <c:pt idx="95">
                  <c:v>31.III.21</c:v>
                </c:pt>
                <c:pt idx="96">
                  <c:v>1.IV.21</c:v>
                </c:pt>
                <c:pt idx="97">
                  <c:v>2.IV.21</c:v>
                </c:pt>
                <c:pt idx="98">
                  <c:v>3.IV.21</c:v>
                </c:pt>
                <c:pt idx="99">
                  <c:v>4.IV.21</c:v>
                </c:pt>
                <c:pt idx="100">
                  <c:v>5.IV.21</c:v>
                </c:pt>
                <c:pt idx="101">
                  <c:v>6.IV.21</c:v>
                </c:pt>
                <c:pt idx="102">
                  <c:v>7.IV.21</c:v>
                </c:pt>
                <c:pt idx="103">
                  <c:v>8.IV.21</c:v>
                </c:pt>
                <c:pt idx="104">
                  <c:v>9.IV.21</c:v>
                </c:pt>
                <c:pt idx="105">
                  <c:v>10.IV.21</c:v>
                </c:pt>
                <c:pt idx="106">
                  <c:v>11.IV.21</c:v>
                </c:pt>
                <c:pt idx="107">
                  <c:v>12.IV.21</c:v>
                </c:pt>
                <c:pt idx="108">
                  <c:v>13.IV.21</c:v>
                </c:pt>
                <c:pt idx="109">
                  <c:v>14.IV.21</c:v>
                </c:pt>
                <c:pt idx="110">
                  <c:v>15.IV.21</c:v>
                </c:pt>
                <c:pt idx="111">
                  <c:v>16.IV.21</c:v>
                </c:pt>
                <c:pt idx="112">
                  <c:v>17.IV.21</c:v>
                </c:pt>
                <c:pt idx="113">
                  <c:v>18.IV.21</c:v>
                </c:pt>
                <c:pt idx="114">
                  <c:v>19.IV.21</c:v>
                </c:pt>
                <c:pt idx="115">
                  <c:v>20.IV.21</c:v>
                </c:pt>
                <c:pt idx="116">
                  <c:v>21.IV.21</c:v>
                </c:pt>
                <c:pt idx="117">
                  <c:v>22.IV.21</c:v>
                </c:pt>
                <c:pt idx="118">
                  <c:v>23.IV.21</c:v>
                </c:pt>
                <c:pt idx="119">
                  <c:v>24.IV.21</c:v>
                </c:pt>
                <c:pt idx="120">
                  <c:v>25.IV.21</c:v>
                </c:pt>
                <c:pt idx="121">
                  <c:v>26.IV.21</c:v>
                </c:pt>
                <c:pt idx="122">
                  <c:v>27.IV.21</c:v>
                </c:pt>
                <c:pt idx="123">
                  <c:v>28.IV.21</c:v>
                </c:pt>
                <c:pt idx="124">
                  <c:v>29.IV.21</c:v>
                </c:pt>
                <c:pt idx="125">
                  <c:v>30.IV.21</c:v>
                </c:pt>
                <c:pt idx="126">
                  <c:v>1.V.21</c:v>
                </c:pt>
                <c:pt idx="127">
                  <c:v>2.V.21</c:v>
                </c:pt>
                <c:pt idx="128">
                  <c:v>3.V.21</c:v>
                </c:pt>
                <c:pt idx="129">
                  <c:v>4.V.21</c:v>
                </c:pt>
                <c:pt idx="130">
                  <c:v>5.V.21</c:v>
                </c:pt>
                <c:pt idx="131">
                  <c:v>6.V.21</c:v>
                </c:pt>
                <c:pt idx="132">
                  <c:v>7.V.21</c:v>
                </c:pt>
                <c:pt idx="133">
                  <c:v>8.V.21</c:v>
                </c:pt>
                <c:pt idx="134">
                  <c:v>9.V.21</c:v>
                </c:pt>
                <c:pt idx="135">
                  <c:v>10.V.21</c:v>
                </c:pt>
                <c:pt idx="136">
                  <c:v>11.V.21</c:v>
                </c:pt>
                <c:pt idx="137">
                  <c:v>12.V.21</c:v>
                </c:pt>
                <c:pt idx="138">
                  <c:v>13.V.21</c:v>
                </c:pt>
                <c:pt idx="139">
                  <c:v>14.V.21</c:v>
                </c:pt>
                <c:pt idx="140">
                  <c:v>15.V.21</c:v>
                </c:pt>
                <c:pt idx="141">
                  <c:v>16.V.21</c:v>
                </c:pt>
                <c:pt idx="142">
                  <c:v>17.V.21</c:v>
                </c:pt>
                <c:pt idx="143">
                  <c:v>18.V.21</c:v>
                </c:pt>
                <c:pt idx="144">
                  <c:v>19.V.21</c:v>
                </c:pt>
                <c:pt idx="145">
                  <c:v>20.V.21</c:v>
                </c:pt>
                <c:pt idx="146">
                  <c:v>21.V.21</c:v>
                </c:pt>
                <c:pt idx="147">
                  <c:v>22.V.21</c:v>
                </c:pt>
                <c:pt idx="148">
                  <c:v>23.V.21</c:v>
                </c:pt>
                <c:pt idx="149">
                  <c:v>24.V.21</c:v>
                </c:pt>
                <c:pt idx="150">
                  <c:v>25.V.21</c:v>
                </c:pt>
                <c:pt idx="151">
                  <c:v>26.V.21</c:v>
                </c:pt>
                <c:pt idx="152">
                  <c:v>27.V.21</c:v>
                </c:pt>
                <c:pt idx="153">
                  <c:v>28.V.21</c:v>
                </c:pt>
                <c:pt idx="154">
                  <c:v>29.V.21</c:v>
                </c:pt>
                <c:pt idx="155">
                  <c:v>30.V.21</c:v>
                </c:pt>
                <c:pt idx="156">
                  <c:v>31.V.21</c:v>
                </c:pt>
                <c:pt idx="157">
                  <c:v>1.VI.21</c:v>
                </c:pt>
                <c:pt idx="158">
                  <c:v>2.VI.21</c:v>
                </c:pt>
                <c:pt idx="159">
                  <c:v>3.VI.21</c:v>
                </c:pt>
                <c:pt idx="160">
                  <c:v>4.VI.21</c:v>
                </c:pt>
                <c:pt idx="161">
                  <c:v>5.VI.21</c:v>
                </c:pt>
                <c:pt idx="162">
                  <c:v>6.VI.21</c:v>
                </c:pt>
                <c:pt idx="163">
                  <c:v>7.VI.21</c:v>
                </c:pt>
                <c:pt idx="164">
                  <c:v>8.VI.21</c:v>
                </c:pt>
                <c:pt idx="165">
                  <c:v>9.VI.21</c:v>
                </c:pt>
                <c:pt idx="166">
                  <c:v>10.VI.21</c:v>
                </c:pt>
                <c:pt idx="167">
                  <c:v>11.VI.21</c:v>
                </c:pt>
                <c:pt idx="168">
                  <c:v>12.VI.21</c:v>
                </c:pt>
                <c:pt idx="169">
                  <c:v>13.VI.21</c:v>
                </c:pt>
                <c:pt idx="170">
                  <c:v>14.VI.21</c:v>
                </c:pt>
                <c:pt idx="171">
                  <c:v>15.VI.21</c:v>
                </c:pt>
                <c:pt idx="172">
                  <c:v>16.VI.21</c:v>
                </c:pt>
                <c:pt idx="173">
                  <c:v>17.VI.21</c:v>
                </c:pt>
                <c:pt idx="174">
                  <c:v>18.VI.21</c:v>
                </c:pt>
                <c:pt idx="175">
                  <c:v>19.VI.21</c:v>
                </c:pt>
                <c:pt idx="176">
                  <c:v>20.VI.21</c:v>
                </c:pt>
                <c:pt idx="177">
                  <c:v>21.VI.21</c:v>
                </c:pt>
                <c:pt idx="178">
                  <c:v>22.VI.21</c:v>
                </c:pt>
                <c:pt idx="179">
                  <c:v>23.VI.21</c:v>
                </c:pt>
                <c:pt idx="180">
                  <c:v>24.VI.21</c:v>
                </c:pt>
                <c:pt idx="181">
                  <c:v>25.VI.21</c:v>
                </c:pt>
                <c:pt idx="182">
                  <c:v>26.VI.21</c:v>
                </c:pt>
                <c:pt idx="183">
                  <c:v>27.VI.21</c:v>
                </c:pt>
                <c:pt idx="184">
                  <c:v>28.VI.21</c:v>
                </c:pt>
                <c:pt idx="185">
                  <c:v>29.VI.21</c:v>
                </c:pt>
                <c:pt idx="186">
                  <c:v>30.VI.21</c:v>
                </c:pt>
                <c:pt idx="187">
                  <c:v>1.VII.21</c:v>
                </c:pt>
                <c:pt idx="188">
                  <c:v>2.VII.21</c:v>
                </c:pt>
                <c:pt idx="189">
                  <c:v>3.VII.21</c:v>
                </c:pt>
                <c:pt idx="190">
                  <c:v>4.VII.21</c:v>
                </c:pt>
                <c:pt idx="191">
                  <c:v>5.VII.21</c:v>
                </c:pt>
                <c:pt idx="192">
                  <c:v>6.VII.21</c:v>
                </c:pt>
                <c:pt idx="193">
                  <c:v>7.VII.21</c:v>
                </c:pt>
                <c:pt idx="194">
                  <c:v>8.VII.21</c:v>
                </c:pt>
                <c:pt idx="195">
                  <c:v>9.VII.21</c:v>
                </c:pt>
                <c:pt idx="196">
                  <c:v>10.VII.21</c:v>
                </c:pt>
                <c:pt idx="197">
                  <c:v>11.VII.21</c:v>
                </c:pt>
                <c:pt idx="198">
                  <c:v>12.VII.21</c:v>
                </c:pt>
                <c:pt idx="199">
                  <c:v>13.VII.21</c:v>
                </c:pt>
                <c:pt idx="200">
                  <c:v>14.VII.21</c:v>
                </c:pt>
                <c:pt idx="201">
                  <c:v>15.VII.21</c:v>
                </c:pt>
                <c:pt idx="202">
                  <c:v>16.VII.21</c:v>
                </c:pt>
                <c:pt idx="203">
                  <c:v>17.VII.21</c:v>
                </c:pt>
                <c:pt idx="204">
                  <c:v>18.VII.21</c:v>
                </c:pt>
                <c:pt idx="205">
                  <c:v>19.VII.21</c:v>
                </c:pt>
                <c:pt idx="206">
                  <c:v>20.VII.21</c:v>
                </c:pt>
                <c:pt idx="207">
                  <c:v>21.VII.21</c:v>
                </c:pt>
                <c:pt idx="208">
                  <c:v>22.VII.21</c:v>
                </c:pt>
                <c:pt idx="209">
                  <c:v>23.VII.21</c:v>
                </c:pt>
                <c:pt idx="210">
                  <c:v>24.VII.21</c:v>
                </c:pt>
                <c:pt idx="211">
                  <c:v>25.VII.21</c:v>
                </c:pt>
                <c:pt idx="212">
                  <c:v>26.VII.21</c:v>
                </c:pt>
                <c:pt idx="213">
                  <c:v>27.VII.21</c:v>
                </c:pt>
                <c:pt idx="214">
                  <c:v>28.VII.21</c:v>
                </c:pt>
                <c:pt idx="215">
                  <c:v>29.VII.21</c:v>
                </c:pt>
                <c:pt idx="216">
                  <c:v>30.VII.21</c:v>
                </c:pt>
                <c:pt idx="217">
                  <c:v>31.VII.21</c:v>
                </c:pt>
                <c:pt idx="218">
                  <c:v>1.VIII.21</c:v>
                </c:pt>
                <c:pt idx="219">
                  <c:v>2.VIII.21</c:v>
                </c:pt>
                <c:pt idx="220">
                  <c:v>3.VIII.21</c:v>
                </c:pt>
                <c:pt idx="221">
                  <c:v>4.VIII.21</c:v>
                </c:pt>
                <c:pt idx="222">
                  <c:v>5.VIII.21</c:v>
                </c:pt>
                <c:pt idx="223">
                  <c:v>6.VIII.21</c:v>
                </c:pt>
                <c:pt idx="224">
                  <c:v>7.VIII.21</c:v>
                </c:pt>
                <c:pt idx="225">
                  <c:v>8.VIII.21</c:v>
                </c:pt>
                <c:pt idx="226">
                  <c:v>9.VIII.21</c:v>
                </c:pt>
                <c:pt idx="227">
                  <c:v>10.VIII.21</c:v>
                </c:pt>
                <c:pt idx="228">
                  <c:v>11.VIII.21</c:v>
                </c:pt>
                <c:pt idx="229">
                  <c:v>12.VIII.21</c:v>
                </c:pt>
                <c:pt idx="230">
                  <c:v>13.VIII.21</c:v>
                </c:pt>
                <c:pt idx="231">
                  <c:v>14.VIII.21</c:v>
                </c:pt>
                <c:pt idx="232">
                  <c:v>15.VIII.21</c:v>
                </c:pt>
                <c:pt idx="233">
                  <c:v>16.VIII.21</c:v>
                </c:pt>
                <c:pt idx="234">
                  <c:v>17.VIII.21</c:v>
                </c:pt>
                <c:pt idx="235">
                  <c:v>18.VIII.21</c:v>
                </c:pt>
                <c:pt idx="236">
                  <c:v>19.VIII.21</c:v>
                </c:pt>
                <c:pt idx="237">
                  <c:v>20.VIII.21</c:v>
                </c:pt>
                <c:pt idx="238">
                  <c:v>21.VIII.21</c:v>
                </c:pt>
                <c:pt idx="239">
                  <c:v>22.VIII.21</c:v>
                </c:pt>
                <c:pt idx="240">
                  <c:v>23.VIII.21</c:v>
                </c:pt>
                <c:pt idx="241">
                  <c:v>24.VIII.21</c:v>
                </c:pt>
                <c:pt idx="242">
                  <c:v>25.VIII.21</c:v>
                </c:pt>
                <c:pt idx="243">
                  <c:v>26.VIII.21</c:v>
                </c:pt>
                <c:pt idx="244">
                  <c:v>27.VIII.21</c:v>
                </c:pt>
                <c:pt idx="245">
                  <c:v>28.VIII.21</c:v>
                </c:pt>
                <c:pt idx="246">
                  <c:v>29.VIII.21</c:v>
                </c:pt>
                <c:pt idx="247">
                  <c:v>30.VIII.21</c:v>
                </c:pt>
                <c:pt idx="248">
                  <c:v>31.VIII.21</c:v>
                </c:pt>
                <c:pt idx="249">
                  <c:v>1.IX.21</c:v>
                </c:pt>
                <c:pt idx="250">
                  <c:v>2.IX.21</c:v>
                </c:pt>
                <c:pt idx="251">
                  <c:v>3.IX.21</c:v>
                </c:pt>
                <c:pt idx="252">
                  <c:v>4.IX.21</c:v>
                </c:pt>
                <c:pt idx="253">
                  <c:v>5.IX.21</c:v>
                </c:pt>
                <c:pt idx="254">
                  <c:v>6.IX.21</c:v>
                </c:pt>
                <c:pt idx="255">
                  <c:v>7.IX.21</c:v>
                </c:pt>
                <c:pt idx="256">
                  <c:v>8.IX.21</c:v>
                </c:pt>
                <c:pt idx="257">
                  <c:v>9.IX.21</c:v>
                </c:pt>
                <c:pt idx="258">
                  <c:v>10.IX.21</c:v>
                </c:pt>
                <c:pt idx="259">
                  <c:v>11.IX.21</c:v>
                </c:pt>
                <c:pt idx="260">
                  <c:v>12.IX.21</c:v>
                </c:pt>
                <c:pt idx="261">
                  <c:v>13.IX.21</c:v>
                </c:pt>
                <c:pt idx="262">
                  <c:v>14.IX.21</c:v>
                </c:pt>
                <c:pt idx="263">
                  <c:v>15.IX.21</c:v>
                </c:pt>
                <c:pt idx="264">
                  <c:v>16.IX.21</c:v>
                </c:pt>
                <c:pt idx="265">
                  <c:v>17.IX.21</c:v>
                </c:pt>
                <c:pt idx="266">
                  <c:v>18.IX.21</c:v>
                </c:pt>
                <c:pt idx="267">
                  <c:v>19.IX.21</c:v>
                </c:pt>
                <c:pt idx="268">
                  <c:v>20.IX.21</c:v>
                </c:pt>
                <c:pt idx="269">
                  <c:v>21.IX.21</c:v>
                </c:pt>
                <c:pt idx="270">
                  <c:v>22.IX.21</c:v>
                </c:pt>
                <c:pt idx="271">
                  <c:v>23.IX.21</c:v>
                </c:pt>
                <c:pt idx="272">
                  <c:v>24.IX.21</c:v>
                </c:pt>
                <c:pt idx="273">
                  <c:v>25.IX.21</c:v>
                </c:pt>
                <c:pt idx="274">
                  <c:v>26.IX.21</c:v>
                </c:pt>
                <c:pt idx="275">
                  <c:v>27.IX.21</c:v>
                </c:pt>
                <c:pt idx="276">
                  <c:v>28.IX.21</c:v>
                </c:pt>
                <c:pt idx="277">
                  <c:v>29.IX.21</c:v>
                </c:pt>
                <c:pt idx="278">
                  <c:v>30.IX.21</c:v>
                </c:pt>
                <c:pt idx="279">
                  <c:v>1.X.21</c:v>
                </c:pt>
                <c:pt idx="280">
                  <c:v>2.X.21</c:v>
                </c:pt>
                <c:pt idx="281">
                  <c:v>3.X.21</c:v>
                </c:pt>
                <c:pt idx="282">
                  <c:v>4.X.21</c:v>
                </c:pt>
                <c:pt idx="283">
                  <c:v>5.X.21</c:v>
                </c:pt>
                <c:pt idx="284">
                  <c:v>6.X.21</c:v>
                </c:pt>
                <c:pt idx="285">
                  <c:v>7.X.21</c:v>
                </c:pt>
                <c:pt idx="286">
                  <c:v>8.X.21</c:v>
                </c:pt>
                <c:pt idx="287">
                  <c:v>9.X.21</c:v>
                </c:pt>
                <c:pt idx="288">
                  <c:v>10.X.21</c:v>
                </c:pt>
                <c:pt idx="289">
                  <c:v>11.X.21</c:v>
                </c:pt>
                <c:pt idx="290">
                  <c:v>12.X.21</c:v>
                </c:pt>
                <c:pt idx="291">
                  <c:v>13.X.21</c:v>
                </c:pt>
                <c:pt idx="292">
                  <c:v>14.X.21</c:v>
                </c:pt>
                <c:pt idx="293">
                  <c:v>15.X.21</c:v>
                </c:pt>
                <c:pt idx="294">
                  <c:v>16.X.21</c:v>
                </c:pt>
                <c:pt idx="295">
                  <c:v>17.X.21</c:v>
                </c:pt>
                <c:pt idx="296">
                  <c:v>18.X.21</c:v>
                </c:pt>
                <c:pt idx="297">
                  <c:v>19.X.21</c:v>
                </c:pt>
                <c:pt idx="298">
                  <c:v>20.X.21</c:v>
                </c:pt>
                <c:pt idx="299">
                  <c:v>21.X.21</c:v>
                </c:pt>
                <c:pt idx="300">
                  <c:v>22.X.21</c:v>
                </c:pt>
                <c:pt idx="301">
                  <c:v>23.X.21</c:v>
                </c:pt>
                <c:pt idx="302">
                  <c:v>24.X.21</c:v>
                </c:pt>
                <c:pt idx="303">
                  <c:v>25.X.21</c:v>
                </c:pt>
                <c:pt idx="304">
                  <c:v>26.X.21</c:v>
                </c:pt>
                <c:pt idx="305">
                  <c:v>27.X.21</c:v>
                </c:pt>
                <c:pt idx="306">
                  <c:v>28.X.21</c:v>
                </c:pt>
                <c:pt idx="307">
                  <c:v>29.X.21</c:v>
                </c:pt>
                <c:pt idx="308">
                  <c:v>30.X.21</c:v>
                </c:pt>
                <c:pt idx="309">
                  <c:v>31.X.21</c:v>
                </c:pt>
                <c:pt idx="310">
                  <c:v>1.XI.21</c:v>
                </c:pt>
                <c:pt idx="311">
                  <c:v>2.XI.21</c:v>
                </c:pt>
                <c:pt idx="312">
                  <c:v>3.XI.21</c:v>
                </c:pt>
                <c:pt idx="313">
                  <c:v>4.XI.21</c:v>
                </c:pt>
                <c:pt idx="314">
                  <c:v>5.XI.21</c:v>
                </c:pt>
                <c:pt idx="315">
                  <c:v>6.XI.21</c:v>
                </c:pt>
                <c:pt idx="316">
                  <c:v>7.XI.21</c:v>
                </c:pt>
                <c:pt idx="317">
                  <c:v>8.XI.21</c:v>
                </c:pt>
                <c:pt idx="318">
                  <c:v>9.XI.21</c:v>
                </c:pt>
                <c:pt idx="319">
                  <c:v>10.XI.21</c:v>
                </c:pt>
                <c:pt idx="320">
                  <c:v>11.XI.21</c:v>
                </c:pt>
                <c:pt idx="321">
                  <c:v>12.XI.21</c:v>
                </c:pt>
                <c:pt idx="322">
                  <c:v>13.XI.21</c:v>
                </c:pt>
                <c:pt idx="323">
                  <c:v>14.XI.21</c:v>
                </c:pt>
                <c:pt idx="324">
                  <c:v>15.XI.21</c:v>
                </c:pt>
                <c:pt idx="325">
                  <c:v>16.XI.21</c:v>
                </c:pt>
                <c:pt idx="326">
                  <c:v>17.XI.21</c:v>
                </c:pt>
                <c:pt idx="327">
                  <c:v>18.XI.21</c:v>
                </c:pt>
                <c:pt idx="328">
                  <c:v>19.XI.21</c:v>
                </c:pt>
                <c:pt idx="329">
                  <c:v>20.XI.21</c:v>
                </c:pt>
                <c:pt idx="330">
                  <c:v>21.XI.21</c:v>
                </c:pt>
                <c:pt idx="331">
                  <c:v>22.XI.21</c:v>
                </c:pt>
                <c:pt idx="332">
                  <c:v>23.XI.21</c:v>
                </c:pt>
                <c:pt idx="333">
                  <c:v>24.XI.21</c:v>
                </c:pt>
                <c:pt idx="334">
                  <c:v>25.XI.21</c:v>
                </c:pt>
                <c:pt idx="335">
                  <c:v>26.XI.21</c:v>
                </c:pt>
                <c:pt idx="336">
                  <c:v>27.XI.21</c:v>
                </c:pt>
                <c:pt idx="337">
                  <c:v>28.XI.21</c:v>
                </c:pt>
                <c:pt idx="338">
                  <c:v>29.XI.21</c:v>
                </c:pt>
                <c:pt idx="339">
                  <c:v>30.XI.21</c:v>
                </c:pt>
                <c:pt idx="340">
                  <c:v>1.XII.21</c:v>
                </c:pt>
                <c:pt idx="341">
                  <c:v>2.XII.21</c:v>
                </c:pt>
                <c:pt idx="342">
                  <c:v>3.XII.21</c:v>
                </c:pt>
                <c:pt idx="343">
                  <c:v>4.XII.21</c:v>
                </c:pt>
                <c:pt idx="344">
                  <c:v>5.XII.21</c:v>
                </c:pt>
                <c:pt idx="345">
                  <c:v>6.XII.21</c:v>
                </c:pt>
                <c:pt idx="346">
                  <c:v>7.XII.21</c:v>
                </c:pt>
                <c:pt idx="347">
                  <c:v>8.XII.21</c:v>
                </c:pt>
                <c:pt idx="348">
                  <c:v>9.XII.21</c:v>
                </c:pt>
                <c:pt idx="349">
                  <c:v>10.XII.21</c:v>
                </c:pt>
                <c:pt idx="350">
                  <c:v>11.XII.21</c:v>
                </c:pt>
                <c:pt idx="351">
                  <c:v>12.XII.21</c:v>
                </c:pt>
                <c:pt idx="352">
                  <c:v>13.XII.21</c:v>
                </c:pt>
                <c:pt idx="353">
                  <c:v>14.XII.21</c:v>
                </c:pt>
                <c:pt idx="354">
                  <c:v>15.XII.21</c:v>
                </c:pt>
                <c:pt idx="355">
                  <c:v>16.XII.21</c:v>
                </c:pt>
                <c:pt idx="356">
                  <c:v>17.XII.21</c:v>
                </c:pt>
                <c:pt idx="357">
                  <c:v>18.XII.21</c:v>
                </c:pt>
                <c:pt idx="358">
                  <c:v>19.XII.21</c:v>
                </c:pt>
                <c:pt idx="359">
                  <c:v>20.XII.21</c:v>
                </c:pt>
                <c:pt idx="360">
                  <c:v>21.XII.21</c:v>
                </c:pt>
                <c:pt idx="361">
                  <c:v>22.XII.21</c:v>
                </c:pt>
                <c:pt idx="362">
                  <c:v>23.XII.21</c:v>
                </c:pt>
                <c:pt idx="363">
                  <c:v>24.XII.21</c:v>
                </c:pt>
                <c:pt idx="364">
                  <c:v>25.XII.21</c:v>
                </c:pt>
              </c:strCache>
            </c:strRef>
          </c:cat>
          <c:val>
            <c:numRef>
              <c:f>List1!$H$5:$NH$5</c:f>
              <c:numCache>
                <c:formatCode>General</c:formatCode>
                <c:ptCount val="365"/>
                <c:pt idx="1">
                  <c:v>448</c:v>
                </c:pt>
                <c:pt idx="2">
                  <c:v>1180</c:v>
                </c:pt>
                <c:pt idx="3">
                  <c:v>2128</c:v>
                </c:pt>
                <c:pt idx="4">
                  <c:v>3071</c:v>
                </c:pt>
                <c:pt idx="5">
                  <c:v>3409</c:v>
                </c:pt>
                <c:pt idx="6">
                  <c:v>3498</c:v>
                </c:pt>
                <c:pt idx="7">
                  <c:v>3890</c:v>
                </c:pt>
                <c:pt idx="8">
                  <c:v>4203</c:v>
                </c:pt>
                <c:pt idx="9">
                  <c:v>5400</c:v>
                </c:pt>
                <c:pt idx="10">
                  <c:v>6715</c:v>
                </c:pt>
                <c:pt idx="11">
                  <c:v>8211</c:v>
                </c:pt>
                <c:pt idx="12">
                  <c:v>9889</c:v>
                </c:pt>
                <c:pt idx="13">
                  <c:v>11699</c:v>
                </c:pt>
                <c:pt idx="14">
                  <c:v>12108</c:v>
                </c:pt>
                <c:pt idx="15">
                  <c:v>12400</c:v>
                </c:pt>
                <c:pt idx="16">
                  <c:v>14148</c:v>
                </c:pt>
                <c:pt idx="17">
                  <c:v>16097</c:v>
                </c:pt>
                <c:pt idx="18">
                  <c:v>17799</c:v>
                </c:pt>
                <c:pt idx="19">
                  <c:v>19703</c:v>
                </c:pt>
                <c:pt idx="20">
                  <c:v>21507</c:v>
                </c:pt>
                <c:pt idx="21">
                  <c:v>21842</c:v>
                </c:pt>
                <c:pt idx="22">
                  <c:v>22067</c:v>
                </c:pt>
                <c:pt idx="23">
                  <c:v>23626</c:v>
                </c:pt>
                <c:pt idx="24">
                  <c:v>24806</c:v>
                </c:pt>
                <c:pt idx="25">
                  <c:v>25934</c:v>
                </c:pt>
                <c:pt idx="26">
                  <c:v>26934</c:v>
                </c:pt>
                <c:pt idx="27">
                  <c:v>27764</c:v>
                </c:pt>
                <c:pt idx="28">
                  <c:v>27933</c:v>
                </c:pt>
                <c:pt idx="29">
                  <c:v>28015</c:v>
                </c:pt>
                <c:pt idx="30">
                  <c:v>28526</c:v>
                </c:pt>
                <c:pt idx="31">
                  <c:v>29066</c:v>
                </c:pt>
                <c:pt idx="32">
                  <c:v>29465</c:v>
                </c:pt>
                <c:pt idx="33">
                  <c:v>29843</c:v>
                </c:pt>
                <c:pt idx="34">
                  <c:v>30174</c:v>
                </c:pt>
                <c:pt idx="35">
                  <c:v>30199</c:v>
                </c:pt>
                <c:pt idx="36">
                  <c:v>30220</c:v>
                </c:pt>
                <c:pt idx="37">
                  <c:v>30465</c:v>
                </c:pt>
                <c:pt idx="38">
                  <c:v>30701</c:v>
                </c:pt>
                <c:pt idx="39">
                  <c:v>30924</c:v>
                </c:pt>
                <c:pt idx="40">
                  <c:v>31119</c:v>
                </c:pt>
                <c:pt idx="41">
                  <c:v>31395</c:v>
                </c:pt>
                <c:pt idx="42">
                  <c:v>31414</c:v>
                </c:pt>
                <c:pt idx="43">
                  <c:v>31426</c:v>
                </c:pt>
                <c:pt idx="44">
                  <c:v>31562</c:v>
                </c:pt>
                <c:pt idx="45">
                  <c:v>31700</c:v>
                </c:pt>
                <c:pt idx="46">
                  <c:v>31895</c:v>
                </c:pt>
                <c:pt idx="47">
                  <c:v>32127</c:v>
                </c:pt>
                <c:pt idx="48">
                  <c:v>32406</c:v>
                </c:pt>
                <c:pt idx="49">
                  <c:v>32505</c:v>
                </c:pt>
                <c:pt idx="50">
                  <c:v>32570</c:v>
                </c:pt>
                <c:pt idx="51">
                  <c:v>32926</c:v>
                </c:pt>
                <c:pt idx="52">
                  <c:v>33224</c:v>
                </c:pt>
                <c:pt idx="53">
                  <c:v>33485</c:v>
                </c:pt>
                <c:pt idx="54">
                  <c:v>33823</c:v>
                </c:pt>
                <c:pt idx="55">
                  <c:v>34270</c:v>
                </c:pt>
                <c:pt idx="56">
                  <c:v>34376</c:v>
                </c:pt>
                <c:pt idx="57">
                  <c:v>34423</c:v>
                </c:pt>
                <c:pt idx="58">
                  <c:v>34734</c:v>
                </c:pt>
                <c:pt idx="59">
                  <c:v>35215</c:v>
                </c:pt>
                <c:pt idx="60">
                  <c:v>35813</c:v>
                </c:pt>
                <c:pt idx="61">
                  <c:v>36466</c:v>
                </c:pt>
                <c:pt idx="62">
                  <c:v>37009</c:v>
                </c:pt>
                <c:pt idx="63">
                  <c:v>37083</c:v>
                </c:pt>
                <c:pt idx="64">
                  <c:v>37126</c:v>
                </c:pt>
                <c:pt idx="65">
                  <c:v>37674</c:v>
                </c:pt>
                <c:pt idx="66">
                  <c:v>38270</c:v>
                </c:pt>
                <c:pt idx="67">
                  <c:v>38830</c:v>
                </c:pt>
                <c:pt idx="68">
                  <c:v>39374</c:v>
                </c:pt>
                <c:pt idx="69">
                  <c:v>39967</c:v>
                </c:pt>
                <c:pt idx="70">
                  <c:v>40134</c:v>
                </c:pt>
                <c:pt idx="71">
                  <c:v>40243</c:v>
                </c:pt>
                <c:pt idx="72">
                  <c:v>40568</c:v>
                </c:pt>
                <c:pt idx="73">
                  <c:v>40965</c:v>
                </c:pt>
                <c:pt idx="74">
                  <c:v>41368</c:v>
                </c:pt>
                <c:pt idx="75">
                  <c:v>41846</c:v>
                </c:pt>
                <c:pt idx="76">
                  <c:v>42251</c:v>
                </c:pt>
                <c:pt idx="77">
                  <c:v>42390</c:v>
                </c:pt>
                <c:pt idx="78">
                  <c:v>42475</c:v>
                </c:pt>
                <c:pt idx="79">
                  <c:v>42728</c:v>
                </c:pt>
                <c:pt idx="80">
                  <c:v>43090</c:v>
                </c:pt>
                <c:pt idx="81">
                  <c:v>43446</c:v>
                </c:pt>
                <c:pt idx="82">
                  <c:v>43802</c:v>
                </c:pt>
                <c:pt idx="83">
                  <c:v>44133</c:v>
                </c:pt>
                <c:pt idx="84">
                  <c:v>44248</c:v>
                </c:pt>
                <c:pt idx="85">
                  <c:v>44318</c:v>
                </c:pt>
                <c:pt idx="86">
                  <c:v>44491</c:v>
                </c:pt>
                <c:pt idx="87">
                  <c:v>44684</c:v>
                </c:pt>
                <c:pt idx="88">
                  <c:v>44831</c:v>
                </c:pt>
                <c:pt idx="89">
                  <c:v>45025</c:v>
                </c:pt>
                <c:pt idx="90">
                  <c:v>45243</c:v>
                </c:pt>
                <c:pt idx="91">
                  <c:v>45306</c:v>
                </c:pt>
                <c:pt idx="92">
                  <c:v>45348</c:v>
                </c:pt>
                <c:pt idx="93">
                  <c:v>45473</c:v>
                </c:pt>
                <c:pt idx="94">
                  <c:v>45633</c:v>
                </c:pt>
                <c:pt idx="95">
                  <c:v>45793</c:v>
                </c:pt>
                <c:pt idx="96">
                  <c:v>46014</c:v>
                </c:pt>
                <c:pt idx="97">
                  <c:v>46090</c:v>
                </c:pt>
                <c:pt idx="98">
                  <c:v>46110</c:v>
                </c:pt>
                <c:pt idx="99">
                  <c:v>46139</c:v>
                </c:pt>
                <c:pt idx="100">
                  <c:v>46146</c:v>
                </c:pt>
                <c:pt idx="101">
                  <c:v>46236</c:v>
                </c:pt>
                <c:pt idx="102">
                  <c:v>46329</c:v>
                </c:pt>
                <c:pt idx="103">
                  <c:v>46498</c:v>
                </c:pt>
                <c:pt idx="104">
                  <c:v>46698</c:v>
                </c:pt>
                <c:pt idx="105">
                  <c:v>46743</c:v>
                </c:pt>
                <c:pt idx="106">
                  <c:v>46776</c:v>
                </c:pt>
                <c:pt idx="107">
                  <c:v>46912</c:v>
                </c:pt>
                <c:pt idx="108">
                  <c:v>47034</c:v>
                </c:pt>
                <c:pt idx="109">
                  <c:v>47139</c:v>
                </c:pt>
                <c:pt idx="110">
                  <c:v>47296</c:v>
                </c:pt>
                <c:pt idx="111">
                  <c:v>47471</c:v>
                </c:pt>
                <c:pt idx="112">
                  <c:v>47512</c:v>
                </c:pt>
                <c:pt idx="113">
                  <c:v>47567</c:v>
                </c:pt>
                <c:pt idx="114">
                  <c:v>47694</c:v>
                </c:pt>
                <c:pt idx="115">
                  <c:v>47813</c:v>
                </c:pt>
                <c:pt idx="116">
                  <c:v>47947</c:v>
                </c:pt>
                <c:pt idx="117">
                  <c:v>48094</c:v>
                </c:pt>
                <c:pt idx="118">
                  <c:v>48251</c:v>
                </c:pt>
                <c:pt idx="119">
                  <c:v>48307</c:v>
                </c:pt>
                <c:pt idx="120">
                  <c:v>48344</c:v>
                </c:pt>
                <c:pt idx="121">
                  <c:v>48456</c:v>
                </c:pt>
                <c:pt idx="122">
                  <c:v>48577</c:v>
                </c:pt>
                <c:pt idx="123">
                  <c:v>48698</c:v>
                </c:pt>
                <c:pt idx="124">
                  <c:v>48829</c:v>
                </c:pt>
                <c:pt idx="125">
                  <c:v>48968</c:v>
                </c:pt>
                <c:pt idx="126">
                  <c:v>48997</c:v>
                </c:pt>
                <c:pt idx="127">
                  <c:v>49027</c:v>
                </c:pt>
                <c:pt idx="128">
                  <c:v>49148</c:v>
                </c:pt>
                <c:pt idx="129">
                  <c:v>49273</c:v>
                </c:pt>
                <c:pt idx="130">
                  <c:v>49370</c:v>
                </c:pt>
                <c:pt idx="131">
                  <c:v>49487</c:v>
                </c:pt>
                <c:pt idx="132">
                  <c:v>49659</c:v>
                </c:pt>
                <c:pt idx="133">
                  <c:v>49721</c:v>
                </c:pt>
                <c:pt idx="134">
                  <c:v>49753</c:v>
                </c:pt>
                <c:pt idx="135">
                  <c:v>49853</c:v>
                </c:pt>
                <c:pt idx="136">
                  <c:v>49969</c:v>
                </c:pt>
                <c:pt idx="137">
                  <c:v>50101</c:v>
                </c:pt>
                <c:pt idx="138">
                  <c:v>50261</c:v>
                </c:pt>
                <c:pt idx="139">
                  <c:v>50389</c:v>
                </c:pt>
                <c:pt idx="140">
                  <c:v>50460</c:v>
                </c:pt>
                <c:pt idx="141">
                  <c:v>50492</c:v>
                </c:pt>
                <c:pt idx="142">
                  <c:v>50574</c:v>
                </c:pt>
                <c:pt idx="143">
                  <c:v>50666</c:v>
                </c:pt>
                <c:pt idx="144">
                  <c:v>50751</c:v>
                </c:pt>
                <c:pt idx="145">
                  <c:v>50850</c:v>
                </c:pt>
                <c:pt idx="146">
                  <c:v>50957</c:v>
                </c:pt>
                <c:pt idx="147">
                  <c:v>50988</c:v>
                </c:pt>
                <c:pt idx="148">
                  <c:v>51003</c:v>
                </c:pt>
                <c:pt idx="149">
                  <c:v>51052</c:v>
                </c:pt>
                <c:pt idx="150">
                  <c:v>51114</c:v>
                </c:pt>
                <c:pt idx="151">
                  <c:v>51206</c:v>
                </c:pt>
                <c:pt idx="152">
                  <c:v>51287</c:v>
                </c:pt>
                <c:pt idx="153">
                  <c:v>51391</c:v>
                </c:pt>
                <c:pt idx="154">
                  <c:v>51428</c:v>
                </c:pt>
                <c:pt idx="155">
                  <c:v>51461</c:v>
                </c:pt>
                <c:pt idx="156">
                  <c:v>51535</c:v>
                </c:pt>
                <c:pt idx="157">
                  <c:v>51616</c:v>
                </c:pt>
                <c:pt idx="158">
                  <c:v>51710</c:v>
                </c:pt>
                <c:pt idx="159">
                  <c:v>51780</c:v>
                </c:pt>
                <c:pt idx="160">
                  <c:v>51878</c:v>
                </c:pt>
                <c:pt idx="161">
                  <c:v>51905</c:v>
                </c:pt>
                <c:pt idx="162">
                  <c:v>51938</c:v>
                </c:pt>
                <c:pt idx="163">
                  <c:v>52019</c:v>
                </c:pt>
                <c:pt idx="164">
                  <c:v>52116</c:v>
                </c:pt>
                <c:pt idx="165">
                  <c:v>52201</c:v>
                </c:pt>
                <c:pt idx="166">
                  <c:v>52287</c:v>
                </c:pt>
                <c:pt idx="167">
                  <c:v>52383</c:v>
                </c:pt>
                <c:pt idx="168">
                  <c:v>52412</c:v>
                </c:pt>
                <c:pt idx="169">
                  <c:v>52442</c:v>
                </c:pt>
                <c:pt idx="170">
                  <c:v>52512</c:v>
                </c:pt>
                <c:pt idx="171">
                  <c:v>52567</c:v>
                </c:pt>
                <c:pt idx="172">
                  <c:v>52642</c:v>
                </c:pt>
                <c:pt idx="173">
                  <c:v>52720</c:v>
                </c:pt>
                <c:pt idx="174">
                  <c:v>52798</c:v>
                </c:pt>
                <c:pt idx="175">
                  <c:v>52826</c:v>
                </c:pt>
                <c:pt idx="176">
                  <c:v>52851</c:v>
                </c:pt>
                <c:pt idx="177">
                  <c:v>52889</c:v>
                </c:pt>
                <c:pt idx="178">
                  <c:v>52939</c:v>
                </c:pt>
                <c:pt idx="179">
                  <c:v>52992</c:v>
                </c:pt>
                <c:pt idx="180">
                  <c:v>53044</c:v>
                </c:pt>
                <c:pt idx="181">
                  <c:v>53101</c:v>
                </c:pt>
                <c:pt idx="182">
                  <c:v>53115</c:v>
                </c:pt>
                <c:pt idx="183">
                  <c:v>53127</c:v>
                </c:pt>
                <c:pt idx="184">
                  <c:v>53171</c:v>
                </c:pt>
                <c:pt idx="185">
                  <c:v>53217</c:v>
                </c:pt>
                <c:pt idx="186">
                  <c:v>53275</c:v>
                </c:pt>
                <c:pt idx="187">
                  <c:v>53319</c:v>
                </c:pt>
                <c:pt idx="188">
                  <c:v>53374</c:v>
                </c:pt>
                <c:pt idx="189">
                  <c:v>53386</c:v>
                </c:pt>
                <c:pt idx="190">
                  <c:v>53398</c:v>
                </c:pt>
                <c:pt idx="191">
                  <c:v>53404</c:v>
                </c:pt>
                <c:pt idx="192">
                  <c:v>53413</c:v>
                </c:pt>
                <c:pt idx="193">
                  <c:v>53453</c:v>
                </c:pt>
                <c:pt idx="194">
                  <c:v>53508</c:v>
                </c:pt>
                <c:pt idx="195">
                  <c:v>53556</c:v>
                </c:pt>
                <c:pt idx="196">
                  <c:v>53571</c:v>
                </c:pt>
                <c:pt idx="197">
                  <c:v>53585</c:v>
                </c:pt>
                <c:pt idx="198">
                  <c:v>53633</c:v>
                </c:pt>
                <c:pt idx="199">
                  <c:v>53676</c:v>
                </c:pt>
                <c:pt idx="200">
                  <c:v>53722</c:v>
                </c:pt>
                <c:pt idx="201">
                  <c:v>53782</c:v>
                </c:pt>
                <c:pt idx="202">
                  <c:v>53837</c:v>
                </c:pt>
                <c:pt idx="203">
                  <c:v>53859</c:v>
                </c:pt>
                <c:pt idx="204">
                  <c:v>53878</c:v>
                </c:pt>
                <c:pt idx="205">
                  <c:v>53927</c:v>
                </c:pt>
                <c:pt idx="206">
                  <c:v>53972</c:v>
                </c:pt>
                <c:pt idx="207">
                  <c:v>54041</c:v>
                </c:pt>
                <c:pt idx="208">
                  <c:v>54079</c:v>
                </c:pt>
                <c:pt idx="209">
                  <c:v>54112</c:v>
                </c:pt>
                <c:pt idx="210">
                  <c:v>54118</c:v>
                </c:pt>
                <c:pt idx="211">
                  <c:v>54127</c:v>
                </c:pt>
                <c:pt idx="212">
                  <c:v>54167</c:v>
                </c:pt>
                <c:pt idx="213">
                  <c:v>54220</c:v>
                </c:pt>
                <c:pt idx="214">
                  <c:v>54255</c:v>
                </c:pt>
                <c:pt idx="215">
                  <c:v>54283</c:v>
                </c:pt>
                <c:pt idx="216">
                  <c:v>54328</c:v>
                </c:pt>
                <c:pt idx="217">
                  <c:v>54345</c:v>
                </c:pt>
                <c:pt idx="218">
                  <c:v>54358</c:v>
                </c:pt>
                <c:pt idx="219">
                  <c:v>54395</c:v>
                </c:pt>
                <c:pt idx="220">
                  <c:v>54421</c:v>
                </c:pt>
                <c:pt idx="221">
                  <c:v>54461</c:v>
                </c:pt>
                <c:pt idx="222">
                  <c:v>54492</c:v>
                </c:pt>
                <c:pt idx="223">
                  <c:v>54525</c:v>
                </c:pt>
                <c:pt idx="224">
                  <c:v>54538</c:v>
                </c:pt>
                <c:pt idx="225">
                  <c:v>54543</c:v>
                </c:pt>
                <c:pt idx="226">
                  <c:v>54565</c:v>
                </c:pt>
                <c:pt idx="227">
                  <c:v>54580</c:v>
                </c:pt>
                <c:pt idx="228">
                  <c:v>54600</c:v>
                </c:pt>
                <c:pt idx="229">
                  <c:v>54623</c:v>
                </c:pt>
                <c:pt idx="230">
                  <c:v>54648</c:v>
                </c:pt>
                <c:pt idx="231">
                  <c:v>54658</c:v>
                </c:pt>
                <c:pt idx="232">
                  <c:v>54663</c:v>
                </c:pt>
                <c:pt idx="233">
                  <c:v>54680</c:v>
                </c:pt>
                <c:pt idx="234">
                  <c:v>54704</c:v>
                </c:pt>
                <c:pt idx="235">
                  <c:v>54727</c:v>
                </c:pt>
                <c:pt idx="236">
                  <c:v>54749</c:v>
                </c:pt>
                <c:pt idx="237">
                  <c:v>54782</c:v>
                </c:pt>
                <c:pt idx="238">
                  <c:v>54792</c:v>
                </c:pt>
                <c:pt idx="239">
                  <c:v>54795</c:v>
                </c:pt>
                <c:pt idx="240">
                  <c:v>54807</c:v>
                </c:pt>
                <c:pt idx="241">
                  <c:v>54835</c:v>
                </c:pt>
                <c:pt idx="242">
                  <c:v>54859</c:v>
                </c:pt>
                <c:pt idx="243">
                  <c:v>54886</c:v>
                </c:pt>
                <c:pt idx="244">
                  <c:v>54914</c:v>
                </c:pt>
                <c:pt idx="245">
                  <c:v>54917</c:v>
                </c:pt>
                <c:pt idx="246">
                  <c:v>54924</c:v>
                </c:pt>
                <c:pt idx="247">
                  <c:v>54945</c:v>
                </c:pt>
                <c:pt idx="248">
                  <c:v>54970</c:v>
                </c:pt>
                <c:pt idx="249">
                  <c:v>54990</c:v>
                </c:pt>
                <c:pt idx="250">
                  <c:v>55018</c:v>
                </c:pt>
                <c:pt idx="251">
                  <c:v>55044</c:v>
                </c:pt>
                <c:pt idx="252">
                  <c:v>55052</c:v>
                </c:pt>
                <c:pt idx="253">
                  <c:v>55057</c:v>
                </c:pt>
                <c:pt idx="254">
                  <c:v>55070</c:v>
                </c:pt>
                <c:pt idx="255">
                  <c:v>55083</c:v>
                </c:pt>
                <c:pt idx="256">
                  <c:v>55103</c:v>
                </c:pt>
                <c:pt idx="257">
                  <c:v>55130</c:v>
                </c:pt>
                <c:pt idx="258">
                  <c:v>55155</c:v>
                </c:pt>
                <c:pt idx="259">
                  <c:v>55157</c:v>
                </c:pt>
                <c:pt idx="260">
                  <c:v>55160</c:v>
                </c:pt>
                <c:pt idx="261">
                  <c:v>55179</c:v>
                </c:pt>
                <c:pt idx="262">
                  <c:v>55197</c:v>
                </c:pt>
                <c:pt idx="263">
                  <c:v>55212</c:v>
                </c:pt>
                <c:pt idx="264">
                  <c:v>55230</c:v>
                </c:pt>
                <c:pt idx="265">
                  <c:v>55255</c:v>
                </c:pt>
                <c:pt idx="266">
                  <c:v>55260</c:v>
                </c:pt>
                <c:pt idx="267">
                  <c:v>55260</c:v>
                </c:pt>
                <c:pt idx="268">
                  <c:v>55280</c:v>
                </c:pt>
                <c:pt idx="269">
                  <c:v>55288</c:v>
                </c:pt>
                <c:pt idx="270">
                  <c:v>55299</c:v>
                </c:pt>
                <c:pt idx="271">
                  <c:v>55323</c:v>
                </c:pt>
                <c:pt idx="272">
                  <c:v>55349</c:v>
                </c:pt>
                <c:pt idx="273">
                  <c:v>55355</c:v>
                </c:pt>
                <c:pt idx="274">
                  <c:v>55355</c:v>
                </c:pt>
                <c:pt idx="275">
                  <c:v>55367</c:v>
                </c:pt>
                <c:pt idx="276">
                  <c:v>55367</c:v>
                </c:pt>
                <c:pt idx="277">
                  <c:v>55384</c:v>
                </c:pt>
                <c:pt idx="278">
                  <c:v>55399</c:v>
                </c:pt>
                <c:pt idx="279">
                  <c:v>55419</c:v>
                </c:pt>
                <c:pt idx="280">
                  <c:v>55425</c:v>
                </c:pt>
                <c:pt idx="281">
                  <c:v>55425</c:v>
                </c:pt>
                <c:pt idx="282">
                  <c:v>55435</c:v>
                </c:pt>
                <c:pt idx="283">
                  <c:v>55442</c:v>
                </c:pt>
                <c:pt idx="284">
                  <c:v>55454</c:v>
                </c:pt>
                <c:pt idx="285">
                  <c:v>55472</c:v>
                </c:pt>
                <c:pt idx="286">
                  <c:v>55486</c:v>
                </c:pt>
                <c:pt idx="287">
                  <c:v>55492</c:v>
                </c:pt>
                <c:pt idx="288">
                  <c:v>55492</c:v>
                </c:pt>
                <c:pt idx="289">
                  <c:v>55511</c:v>
                </c:pt>
                <c:pt idx="290">
                  <c:v>55529</c:v>
                </c:pt>
                <c:pt idx="291">
                  <c:v>55536</c:v>
                </c:pt>
                <c:pt idx="292">
                  <c:v>55546</c:v>
                </c:pt>
                <c:pt idx="293">
                  <c:v>55563</c:v>
                </c:pt>
                <c:pt idx="294">
                  <c:v>55565</c:v>
                </c:pt>
                <c:pt idx="295">
                  <c:v>55567</c:v>
                </c:pt>
                <c:pt idx="296">
                  <c:v>55588</c:v>
                </c:pt>
                <c:pt idx="297">
                  <c:v>55595</c:v>
                </c:pt>
                <c:pt idx="298">
                  <c:v>55609</c:v>
                </c:pt>
                <c:pt idx="299">
                  <c:v>55634</c:v>
                </c:pt>
                <c:pt idx="300">
                  <c:v>55673</c:v>
                </c:pt>
                <c:pt idx="301">
                  <c:v>55680</c:v>
                </c:pt>
                <c:pt idx="302">
                  <c:v>55686</c:v>
                </c:pt>
                <c:pt idx="303">
                  <c:v>55707</c:v>
                </c:pt>
                <c:pt idx="304">
                  <c:v>55744</c:v>
                </c:pt>
                <c:pt idx="305">
                  <c:v>55791</c:v>
                </c:pt>
                <c:pt idx="306">
                  <c:v>55798</c:v>
                </c:pt>
                <c:pt idx="307">
                  <c:v>55832</c:v>
                </c:pt>
                <c:pt idx="308">
                  <c:v>55844</c:v>
                </c:pt>
                <c:pt idx="309">
                  <c:v>55847</c:v>
                </c:pt>
                <c:pt idx="310">
                  <c:v>55890</c:v>
                </c:pt>
                <c:pt idx="311">
                  <c:v>55929</c:v>
                </c:pt>
                <c:pt idx="312">
                  <c:v>55964</c:v>
                </c:pt>
                <c:pt idx="313">
                  <c:v>56023</c:v>
                </c:pt>
                <c:pt idx="314">
                  <c:v>56086</c:v>
                </c:pt>
                <c:pt idx="315">
                  <c:v>56110</c:v>
                </c:pt>
                <c:pt idx="316">
                  <c:v>56125</c:v>
                </c:pt>
                <c:pt idx="317">
                  <c:v>56155</c:v>
                </c:pt>
                <c:pt idx="318">
                  <c:v>56190</c:v>
                </c:pt>
                <c:pt idx="319">
                  <c:v>56223</c:v>
                </c:pt>
                <c:pt idx="320">
                  <c:v>56257</c:v>
                </c:pt>
                <c:pt idx="321">
                  <c:v>56321</c:v>
                </c:pt>
                <c:pt idx="322">
                  <c:v>56332</c:v>
                </c:pt>
                <c:pt idx="323">
                  <c:v>56341</c:v>
                </c:pt>
                <c:pt idx="324">
                  <c:v>56389</c:v>
                </c:pt>
                <c:pt idx="325">
                  <c:v>56445</c:v>
                </c:pt>
                <c:pt idx="326">
                  <c:v>56460</c:v>
                </c:pt>
                <c:pt idx="327">
                  <c:v>56505</c:v>
                </c:pt>
                <c:pt idx="328">
                  <c:v>56573</c:v>
                </c:pt>
                <c:pt idx="329">
                  <c:v>56599</c:v>
                </c:pt>
                <c:pt idx="330">
                  <c:v>56610</c:v>
                </c:pt>
                <c:pt idx="331">
                  <c:v>56658</c:v>
                </c:pt>
                <c:pt idx="332">
                  <c:v>56709</c:v>
                </c:pt>
                <c:pt idx="333">
                  <c:v>56745</c:v>
                </c:pt>
                <c:pt idx="334">
                  <c:v>56796</c:v>
                </c:pt>
                <c:pt idx="335">
                  <c:v>56856</c:v>
                </c:pt>
                <c:pt idx="336">
                  <c:v>56866</c:v>
                </c:pt>
                <c:pt idx="337">
                  <c:v>56871</c:v>
                </c:pt>
                <c:pt idx="338">
                  <c:v>56900</c:v>
                </c:pt>
                <c:pt idx="339">
                  <c:v>56928</c:v>
                </c:pt>
                <c:pt idx="340">
                  <c:v>56962</c:v>
                </c:pt>
                <c:pt idx="341">
                  <c:v>56985</c:v>
                </c:pt>
                <c:pt idx="342">
                  <c:v>57016</c:v>
                </c:pt>
                <c:pt idx="343">
                  <c:v>57020</c:v>
                </c:pt>
                <c:pt idx="344">
                  <c:v>57022</c:v>
                </c:pt>
                <c:pt idx="345">
                  <c:v>57042</c:v>
                </c:pt>
                <c:pt idx="346">
                  <c:v>57060</c:v>
                </c:pt>
                <c:pt idx="347">
                  <c:v>57084</c:v>
                </c:pt>
                <c:pt idx="348">
                  <c:v>57104</c:v>
                </c:pt>
                <c:pt idx="349">
                  <c:v>57123</c:v>
                </c:pt>
                <c:pt idx="350">
                  <c:v>57127</c:v>
                </c:pt>
                <c:pt idx="351">
                  <c:v>57129</c:v>
                </c:pt>
                <c:pt idx="352">
                  <c:v>57142</c:v>
                </c:pt>
                <c:pt idx="353">
                  <c:v>57153</c:v>
                </c:pt>
                <c:pt idx="354">
                  <c:v>57166</c:v>
                </c:pt>
                <c:pt idx="355">
                  <c:v>57183</c:v>
                </c:pt>
                <c:pt idx="356">
                  <c:v>57201</c:v>
                </c:pt>
                <c:pt idx="357">
                  <c:v>57205</c:v>
                </c:pt>
                <c:pt idx="358">
                  <c:v>57207</c:v>
                </c:pt>
                <c:pt idx="359">
                  <c:v>57216</c:v>
                </c:pt>
                <c:pt idx="360">
                  <c:v>57225</c:v>
                </c:pt>
                <c:pt idx="361">
                  <c:v>57239</c:v>
                </c:pt>
                <c:pt idx="362">
                  <c:v>57241</c:v>
                </c:pt>
                <c:pt idx="363">
                  <c:v>57241</c:v>
                </c:pt>
                <c:pt idx="364">
                  <c:v>572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783-4536-9939-DB56A099F99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335740047"/>
        <c:axId val="1249189871"/>
      </c:lineChart>
      <c:catAx>
        <c:axId val="133574004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rgbClr val="000000"/>
            </a:solidFill>
            <a:round/>
          </a:ln>
          <a:effectLst/>
        </c:spPr>
        <c:txPr>
          <a:bodyPr rot="-36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cs-CZ"/>
          </a:p>
        </c:txPr>
        <c:crossAx val="1249189871"/>
        <c:crosses val="autoZero"/>
        <c:auto val="1"/>
        <c:lblAlgn val="ctr"/>
        <c:lblOffset val="100"/>
        <c:tickLblSkip val="7"/>
        <c:noMultiLvlLbl val="0"/>
      </c:catAx>
      <c:valAx>
        <c:axId val="124918987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cs-CZ"/>
          </a:p>
        </c:txPr>
        <c:crossAx val="1335740047"/>
        <c:crosses val="autoZero"/>
        <c:crossBetween val="midCat"/>
        <c:majorUnit val="2000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2797528443005752"/>
          <c:y val="0.28604517875847346"/>
          <c:w val="0.10158527092232689"/>
          <c:h val="0.4728885344872771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1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1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cs-CZ"/>
    </a:p>
  </c:txPr>
  <c:externalData r:id="rId4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19856463840257E-2"/>
          <c:y val="1.7338673528478215E-2"/>
          <c:w val="0.80334957098880577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20</c:v>
                </c:pt>
              </c:strCache>
            </c:strRef>
          </c:tx>
          <c:spPr>
            <a:ln w="28575" cap="rnd">
              <a:solidFill>
                <a:srgbClr val="00B0F0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O$1:$AE$1</c:f>
              <c:strCache>
                <c:ptCount val="17"/>
                <c:pt idx="0">
                  <c:v>29.08 - 04.09</c:v>
                </c:pt>
                <c:pt idx="1">
                  <c:v>05.09 - 11.09</c:v>
                </c:pt>
                <c:pt idx="2">
                  <c:v>12.09 - 18.09</c:v>
                </c:pt>
                <c:pt idx="3">
                  <c:v>19.09 - 25.09</c:v>
                </c:pt>
                <c:pt idx="4">
                  <c:v>26.09 - 02.10</c:v>
                </c:pt>
                <c:pt idx="5">
                  <c:v>03.10 - 09.10</c:v>
                </c:pt>
                <c:pt idx="6">
                  <c:v>10.10 - 16.10</c:v>
                </c:pt>
                <c:pt idx="7">
                  <c:v>17.10 - 23.10</c:v>
                </c:pt>
                <c:pt idx="8">
                  <c:v>24.10 - 30.10</c:v>
                </c:pt>
                <c:pt idx="9">
                  <c:v>31.10 - 06.11</c:v>
                </c:pt>
                <c:pt idx="10">
                  <c:v>07.11 - 13.11</c:v>
                </c:pt>
                <c:pt idx="11">
                  <c:v>14.11 - 20.11</c:v>
                </c:pt>
                <c:pt idx="12">
                  <c:v>21.11 - 27.11</c:v>
                </c:pt>
                <c:pt idx="13">
                  <c:v>28.11 - 04.12</c:v>
                </c:pt>
                <c:pt idx="14">
                  <c:v>05.12 - 11.12</c:v>
                </c:pt>
                <c:pt idx="15">
                  <c:v>12.12 - 18.12</c:v>
                </c:pt>
                <c:pt idx="16">
                  <c:v>19.12 - 25.12</c:v>
                </c:pt>
              </c:strCache>
            </c:strRef>
          </c:cat>
          <c:val>
            <c:numRef>
              <c:f>List1!$O$2:$AE$2</c:f>
              <c:numCache>
                <c:formatCode>General</c:formatCode>
                <c:ptCount val="17"/>
                <c:pt idx="0">
                  <c:v>9.5990964999999999</c:v>
                </c:pt>
                <c:pt idx="1">
                  <c:v>24.785939599999999</c:v>
                </c:pt>
                <c:pt idx="2">
                  <c:v>40.738919699999997</c:v>
                </c:pt>
                <c:pt idx="3">
                  <c:v>54.090260600000001</c:v>
                </c:pt>
                <c:pt idx="4">
                  <c:v>68.773675800000007</c:v>
                </c:pt>
                <c:pt idx="5">
                  <c:v>137.62492320000001</c:v>
                </c:pt>
                <c:pt idx="6">
                  <c:v>220.0621975</c:v>
                </c:pt>
                <c:pt idx="7">
                  <c:v>315.72904699999998</c:v>
                </c:pt>
                <c:pt idx="8">
                  <c:v>258.09648959999998</c:v>
                </c:pt>
                <c:pt idx="9">
                  <c:v>186.97829709999999</c:v>
                </c:pt>
                <c:pt idx="10">
                  <c:v>114.31845610000001</c:v>
                </c:pt>
                <c:pt idx="11">
                  <c:v>91.479351800000003</c:v>
                </c:pt>
                <c:pt idx="12">
                  <c:v>86.444837899999996</c:v>
                </c:pt>
                <c:pt idx="13">
                  <c:v>98.6415255</c:v>
                </c:pt>
                <c:pt idx="14">
                  <c:v>123.8957719</c:v>
                </c:pt>
                <c:pt idx="15">
                  <c:v>149.4195411</c:v>
                </c:pt>
                <c:pt idx="16">
                  <c:v>185.205239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230-405E-9EEC-CAC00A93CD09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2021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O$1:$AE$1</c:f>
              <c:strCache>
                <c:ptCount val="17"/>
                <c:pt idx="0">
                  <c:v>29.08 - 04.09</c:v>
                </c:pt>
                <c:pt idx="1">
                  <c:v>05.09 - 11.09</c:v>
                </c:pt>
                <c:pt idx="2">
                  <c:v>12.09 - 18.09</c:v>
                </c:pt>
                <c:pt idx="3">
                  <c:v>19.09 - 25.09</c:v>
                </c:pt>
                <c:pt idx="4">
                  <c:v>26.09 - 02.10</c:v>
                </c:pt>
                <c:pt idx="5">
                  <c:v>03.10 - 09.10</c:v>
                </c:pt>
                <c:pt idx="6">
                  <c:v>10.10 - 16.10</c:v>
                </c:pt>
                <c:pt idx="7">
                  <c:v>17.10 - 23.10</c:v>
                </c:pt>
                <c:pt idx="8">
                  <c:v>24.10 - 30.10</c:v>
                </c:pt>
                <c:pt idx="9">
                  <c:v>31.10 - 06.11</c:v>
                </c:pt>
                <c:pt idx="10">
                  <c:v>07.11 - 13.11</c:v>
                </c:pt>
                <c:pt idx="11">
                  <c:v>14.11 - 20.11</c:v>
                </c:pt>
                <c:pt idx="12">
                  <c:v>21.11 - 27.11</c:v>
                </c:pt>
                <c:pt idx="13">
                  <c:v>28.11 - 04.12</c:v>
                </c:pt>
                <c:pt idx="14">
                  <c:v>05.12 - 11.12</c:v>
                </c:pt>
                <c:pt idx="15">
                  <c:v>12.12 - 18.12</c:v>
                </c:pt>
                <c:pt idx="16">
                  <c:v>19.12 - 25.12</c:v>
                </c:pt>
              </c:strCache>
            </c:strRef>
          </c:cat>
          <c:val>
            <c:numRef>
              <c:f>List1!$O$3:$AE$3</c:f>
              <c:numCache>
                <c:formatCode>General</c:formatCode>
                <c:ptCount val="17"/>
                <c:pt idx="0">
                  <c:v>3.6116828999999999</c:v>
                </c:pt>
                <c:pt idx="1">
                  <c:v>2.4950999</c:v>
                </c:pt>
                <c:pt idx="2">
                  <c:v>2.7661752000000002</c:v>
                </c:pt>
                <c:pt idx="3">
                  <c:v>3.3120533000000001</c:v>
                </c:pt>
                <c:pt idx="4">
                  <c:v>8.5374987999999998</c:v>
                </c:pt>
                <c:pt idx="5">
                  <c:v>5.7787560999999998</c:v>
                </c:pt>
                <c:pt idx="6">
                  <c:v>10.730027</c:v>
                </c:pt>
                <c:pt idx="7">
                  <c:v>26.407651600000001</c:v>
                </c:pt>
                <c:pt idx="8">
                  <c:v>44.829976100000003</c:v>
                </c:pt>
                <c:pt idx="9">
                  <c:v>64.906490599999998</c:v>
                </c:pt>
                <c:pt idx="10">
                  <c:v>83.900463700000003</c:v>
                </c:pt>
                <c:pt idx="11">
                  <c:v>99.3253579</c:v>
                </c:pt>
                <c:pt idx="12">
                  <c:v>97.694142999999997</c:v>
                </c:pt>
                <c:pt idx="13">
                  <c:v>85.332217499999999</c:v>
                </c:pt>
                <c:pt idx="14">
                  <c:v>58.1027123</c:v>
                </c:pt>
                <c:pt idx="15">
                  <c:v>40.218612899999997</c:v>
                </c:pt>
                <c:pt idx="16">
                  <c:v>56.9011992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230-405E-9EEC-CAC00A93CD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5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5809610965008587"/>
          <c:y val="0.27545860500728103"/>
          <c:w val="0.14190389034991419"/>
          <c:h val="0.4944791082477983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6097904626E-2"/>
          <c:y val="0.11530977652557951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35:$A$321</c:f>
              <c:numCache>
                <c:formatCode>m/d/yyyy</c:formatCode>
                <c:ptCount val="187"/>
                <c:pt idx="0">
                  <c:v>44364</c:v>
                </c:pt>
                <c:pt idx="1">
                  <c:v>44365</c:v>
                </c:pt>
                <c:pt idx="2">
                  <c:v>44366</c:v>
                </c:pt>
                <c:pt idx="3">
                  <c:v>44367</c:v>
                </c:pt>
                <c:pt idx="4">
                  <c:v>44369</c:v>
                </c:pt>
                <c:pt idx="5">
                  <c:v>44370</c:v>
                </c:pt>
                <c:pt idx="6">
                  <c:v>44371</c:v>
                </c:pt>
                <c:pt idx="7">
                  <c:v>44373</c:v>
                </c:pt>
                <c:pt idx="8">
                  <c:v>44374</c:v>
                </c:pt>
                <c:pt idx="9">
                  <c:v>44375</c:v>
                </c:pt>
                <c:pt idx="10">
                  <c:v>44376</c:v>
                </c:pt>
                <c:pt idx="11">
                  <c:v>44378</c:v>
                </c:pt>
                <c:pt idx="12">
                  <c:v>44379</c:v>
                </c:pt>
                <c:pt idx="13">
                  <c:v>44381</c:v>
                </c:pt>
                <c:pt idx="14">
                  <c:v>44382</c:v>
                </c:pt>
                <c:pt idx="15">
                  <c:v>44383</c:v>
                </c:pt>
                <c:pt idx="16">
                  <c:v>44384</c:v>
                </c:pt>
                <c:pt idx="17">
                  <c:v>44385</c:v>
                </c:pt>
                <c:pt idx="18">
                  <c:v>44386</c:v>
                </c:pt>
                <c:pt idx="19">
                  <c:v>44387</c:v>
                </c:pt>
                <c:pt idx="20">
                  <c:v>44389</c:v>
                </c:pt>
                <c:pt idx="21">
                  <c:v>44390</c:v>
                </c:pt>
                <c:pt idx="22">
                  <c:v>44391</c:v>
                </c:pt>
                <c:pt idx="23">
                  <c:v>44392</c:v>
                </c:pt>
                <c:pt idx="24">
                  <c:v>44393</c:v>
                </c:pt>
                <c:pt idx="25">
                  <c:v>44394</c:v>
                </c:pt>
                <c:pt idx="26">
                  <c:v>44395</c:v>
                </c:pt>
                <c:pt idx="27">
                  <c:v>44396</c:v>
                </c:pt>
                <c:pt idx="28">
                  <c:v>44397</c:v>
                </c:pt>
                <c:pt idx="29">
                  <c:v>44398</c:v>
                </c:pt>
                <c:pt idx="30">
                  <c:v>44399</c:v>
                </c:pt>
                <c:pt idx="31">
                  <c:v>44400</c:v>
                </c:pt>
                <c:pt idx="32">
                  <c:v>44401</c:v>
                </c:pt>
                <c:pt idx="33">
                  <c:v>44402</c:v>
                </c:pt>
                <c:pt idx="34">
                  <c:v>44403</c:v>
                </c:pt>
                <c:pt idx="35">
                  <c:v>44404</c:v>
                </c:pt>
                <c:pt idx="36">
                  <c:v>44405</c:v>
                </c:pt>
                <c:pt idx="37">
                  <c:v>44406</c:v>
                </c:pt>
                <c:pt idx="38">
                  <c:v>44407</c:v>
                </c:pt>
                <c:pt idx="39">
                  <c:v>44408</c:v>
                </c:pt>
                <c:pt idx="40">
                  <c:v>44409</c:v>
                </c:pt>
                <c:pt idx="41">
                  <c:v>44410</c:v>
                </c:pt>
                <c:pt idx="42">
                  <c:v>44411</c:v>
                </c:pt>
                <c:pt idx="43">
                  <c:v>44412</c:v>
                </c:pt>
                <c:pt idx="44">
                  <c:v>44413</c:v>
                </c:pt>
                <c:pt idx="45">
                  <c:v>44414</c:v>
                </c:pt>
                <c:pt idx="46">
                  <c:v>44415</c:v>
                </c:pt>
                <c:pt idx="47">
                  <c:v>44416</c:v>
                </c:pt>
                <c:pt idx="48">
                  <c:v>44417</c:v>
                </c:pt>
                <c:pt idx="49">
                  <c:v>44418</c:v>
                </c:pt>
                <c:pt idx="50">
                  <c:v>44419</c:v>
                </c:pt>
                <c:pt idx="51">
                  <c:v>44420</c:v>
                </c:pt>
                <c:pt idx="52">
                  <c:v>44421</c:v>
                </c:pt>
                <c:pt idx="53">
                  <c:v>44422</c:v>
                </c:pt>
                <c:pt idx="54">
                  <c:v>44423</c:v>
                </c:pt>
                <c:pt idx="55">
                  <c:v>44424</c:v>
                </c:pt>
                <c:pt idx="56">
                  <c:v>44425</c:v>
                </c:pt>
                <c:pt idx="57">
                  <c:v>44426</c:v>
                </c:pt>
                <c:pt idx="58">
                  <c:v>44427</c:v>
                </c:pt>
                <c:pt idx="59">
                  <c:v>44428</c:v>
                </c:pt>
                <c:pt idx="60">
                  <c:v>44429</c:v>
                </c:pt>
                <c:pt idx="61">
                  <c:v>44430</c:v>
                </c:pt>
                <c:pt idx="62">
                  <c:v>44431</c:v>
                </c:pt>
                <c:pt idx="63">
                  <c:v>44432</c:v>
                </c:pt>
                <c:pt idx="64">
                  <c:v>44433</c:v>
                </c:pt>
                <c:pt idx="65">
                  <c:v>44434</c:v>
                </c:pt>
                <c:pt idx="66">
                  <c:v>44435</c:v>
                </c:pt>
                <c:pt idx="67">
                  <c:v>44436</c:v>
                </c:pt>
                <c:pt idx="68">
                  <c:v>44437</c:v>
                </c:pt>
                <c:pt idx="69">
                  <c:v>44438</c:v>
                </c:pt>
                <c:pt idx="70">
                  <c:v>44439</c:v>
                </c:pt>
                <c:pt idx="71">
                  <c:v>44440</c:v>
                </c:pt>
                <c:pt idx="72">
                  <c:v>44441</c:v>
                </c:pt>
                <c:pt idx="73">
                  <c:v>44442</c:v>
                </c:pt>
                <c:pt idx="74">
                  <c:v>44443</c:v>
                </c:pt>
                <c:pt idx="75">
                  <c:v>44444</c:v>
                </c:pt>
                <c:pt idx="76">
                  <c:v>44445</c:v>
                </c:pt>
                <c:pt idx="77">
                  <c:v>44446</c:v>
                </c:pt>
                <c:pt idx="78">
                  <c:v>44447</c:v>
                </c:pt>
                <c:pt idx="79">
                  <c:v>44448</c:v>
                </c:pt>
                <c:pt idx="80">
                  <c:v>44449</c:v>
                </c:pt>
                <c:pt idx="81">
                  <c:v>44450</c:v>
                </c:pt>
                <c:pt idx="82">
                  <c:v>44451</c:v>
                </c:pt>
                <c:pt idx="83">
                  <c:v>44452</c:v>
                </c:pt>
                <c:pt idx="84">
                  <c:v>44453</c:v>
                </c:pt>
                <c:pt idx="85">
                  <c:v>44454</c:v>
                </c:pt>
                <c:pt idx="86">
                  <c:v>44455</c:v>
                </c:pt>
                <c:pt idx="87">
                  <c:v>44456</c:v>
                </c:pt>
                <c:pt idx="88">
                  <c:v>44457</c:v>
                </c:pt>
                <c:pt idx="89">
                  <c:v>44458</c:v>
                </c:pt>
                <c:pt idx="90">
                  <c:v>44459</c:v>
                </c:pt>
                <c:pt idx="91">
                  <c:v>44460</c:v>
                </c:pt>
                <c:pt idx="92">
                  <c:v>44461</c:v>
                </c:pt>
                <c:pt idx="93">
                  <c:v>44462</c:v>
                </c:pt>
                <c:pt idx="94">
                  <c:v>44463</c:v>
                </c:pt>
                <c:pt idx="95">
                  <c:v>44464</c:v>
                </c:pt>
                <c:pt idx="96">
                  <c:v>44465</c:v>
                </c:pt>
                <c:pt idx="97">
                  <c:v>44466</c:v>
                </c:pt>
                <c:pt idx="98">
                  <c:v>44467</c:v>
                </c:pt>
                <c:pt idx="99">
                  <c:v>44468</c:v>
                </c:pt>
                <c:pt idx="100">
                  <c:v>44469</c:v>
                </c:pt>
                <c:pt idx="101">
                  <c:v>44470</c:v>
                </c:pt>
                <c:pt idx="102">
                  <c:v>44471</c:v>
                </c:pt>
                <c:pt idx="103">
                  <c:v>44472</c:v>
                </c:pt>
                <c:pt idx="104">
                  <c:v>44473</c:v>
                </c:pt>
                <c:pt idx="105">
                  <c:v>44474</c:v>
                </c:pt>
                <c:pt idx="106">
                  <c:v>44475</c:v>
                </c:pt>
                <c:pt idx="107">
                  <c:v>44476</c:v>
                </c:pt>
                <c:pt idx="108">
                  <c:v>44477</c:v>
                </c:pt>
                <c:pt idx="109">
                  <c:v>44478</c:v>
                </c:pt>
                <c:pt idx="110">
                  <c:v>44479</c:v>
                </c:pt>
                <c:pt idx="111">
                  <c:v>44480</c:v>
                </c:pt>
                <c:pt idx="112">
                  <c:v>44481</c:v>
                </c:pt>
                <c:pt idx="113">
                  <c:v>44482</c:v>
                </c:pt>
                <c:pt idx="114">
                  <c:v>44483</c:v>
                </c:pt>
                <c:pt idx="115">
                  <c:v>44484</c:v>
                </c:pt>
                <c:pt idx="116">
                  <c:v>44485</c:v>
                </c:pt>
                <c:pt idx="117">
                  <c:v>44486</c:v>
                </c:pt>
                <c:pt idx="118">
                  <c:v>44487</c:v>
                </c:pt>
                <c:pt idx="119">
                  <c:v>44488</c:v>
                </c:pt>
                <c:pt idx="120">
                  <c:v>44489</c:v>
                </c:pt>
                <c:pt idx="121">
                  <c:v>44490</c:v>
                </c:pt>
                <c:pt idx="122">
                  <c:v>44491</c:v>
                </c:pt>
                <c:pt idx="123">
                  <c:v>44492</c:v>
                </c:pt>
                <c:pt idx="124">
                  <c:v>44493</c:v>
                </c:pt>
                <c:pt idx="125">
                  <c:v>44494</c:v>
                </c:pt>
                <c:pt idx="126">
                  <c:v>44495</c:v>
                </c:pt>
                <c:pt idx="127">
                  <c:v>44496</c:v>
                </c:pt>
                <c:pt idx="128">
                  <c:v>44497</c:v>
                </c:pt>
                <c:pt idx="129">
                  <c:v>44498</c:v>
                </c:pt>
                <c:pt idx="130">
                  <c:v>44499</c:v>
                </c:pt>
                <c:pt idx="131">
                  <c:v>44500</c:v>
                </c:pt>
                <c:pt idx="132">
                  <c:v>44501</c:v>
                </c:pt>
                <c:pt idx="133">
                  <c:v>44502</c:v>
                </c:pt>
                <c:pt idx="134">
                  <c:v>44503</c:v>
                </c:pt>
                <c:pt idx="135">
                  <c:v>44504</c:v>
                </c:pt>
                <c:pt idx="136">
                  <c:v>44505</c:v>
                </c:pt>
                <c:pt idx="137">
                  <c:v>44506</c:v>
                </c:pt>
                <c:pt idx="138">
                  <c:v>44507</c:v>
                </c:pt>
                <c:pt idx="139">
                  <c:v>44508</c:v>
                </c:pt>
                <c:pt idx="140">
                  <c:v>44509</c:v>
                </c:pt>
                <c:pt idx="141">
                  <c:v>44510</c:v>
                </c:pt>
                <c:pt idx="142">
                  <c:v>44511</c:v>
                </c:pt>
                <c:pt idx="143">
                  <c:v>44512</c:v>
                </c:pt>
                <c:pt idx="144">
                  <c:v>44513</c:v>
                </c:pt>
                <c:pt idx="145">
                  <c:v>44514</c:v>
                </c:pt>
                <c:pt idx="146">
                  <c:v>44515</c:v>
                </c:pt>
                <c:pt idx="147">
                  <c:v>44516</c:v>
                </c:pt>
                <c:pt idx="148">
                  <c:v>44517</c:v>
                </c:pt>
                <c:pt idx="149">
                  <c:v>44518</c:v>
                </c:pt>
                <c:pt idx="150">
                  <c:v>44519</c:v>
                </c:pt>
                <c:pt idx="151">
                  <c:v>44520</c:v>
                </c:pt>
                <c:pt idx="152">
                  <c:v>44521</c:v>
                </c:pt>
                <c:pt idx="153">
                  <c:v>44522</c:v>
                </c:pt>
                <c:pt idx="154">
                  <c:v>44523</c:v>
                </c:pt>
                <c:pt idx="155">
                  <c:v>44524</c:v>
                </c:pt>
                <c:pt idx="156">
                  <c:v>44525</c:v>
                </c:pt>
                <c:pt idx="157">
                  <c:v>44526</c:v>
                </c:pt>
                <c:pt idx="158">
                  <c:v>44527</c:v>
                </c:pt>
                <c:pt idx="159">
                  <c:v>44528</c:v>
                </c:pt>
                <c:pt idx="160">
                  <c:v>44529</c:v>
                </c:pt>
                <c:pt idx="161">
                  <c:v>44530</c:v>
                </c:pt>
                <c:pt idx="162">
                  <c:v>44531</c:v>
                </c:pt>
                <c:pt idx="163">
                  <c:v>44532</c:v>
                </c:pt>
                <c:pt idx="164">
                  <c:v>44533</c:v>
                </c:pt>
                <c:pt idx="165">
                  <c:v>44534</c:v>
                </c:pt>
                <c:pt idx="166">
                  <c:v>44535</c:v>
                </c:pt>
                <c:pt idx="167">
                  <c:v>44536</c:v>
                </c:pt>
                <c:pt idx="168">
                  <c:v>44537</c:v>
                </c:pt>
                <c:pt idx="169">
                  <c:v>44538</c:v>
                </c:pt>
                <c:pt idx="170">
                  <c:v>44539</c:v>
                </c:pt>
                <c:pt idx="171">
                  <c:v>44540</c:v>
                </c:pt>
                <c:pt idx="172">
                  <c:v>44541</c:v>
                </c:pt>
                <c:pt idx="173">
                  <c:v>44542</c:v>
                </c:pt>
                <c:pt idx="174">
                  <c:v>44543</c:v>
                </c:pt>
                <c:pt idx="175">
                  <c:v>44544</c:v>
                </c:pt>
                <c:pt idx="176">
                  <c:v>44545</c:v>
                </c:pt>
                <c:pt idx="177">
                  <c:v>44546</c:v>
                </c:pt>
                <c:pt idx="178">
                  <c:v>44547</c:v>
                </c:pt>
                <c:pt idx="179">
                  <c:v>44548</c:v>
                </c:pt>
                <c:pt idx="180">
                  <c:v>44549</c:v>
                </c:pt>
                <c:pt idx="181">
                  <c:v>44550</c:v>
                </c:pt>
                <c:pt idx="182">
                  <c:v>44551</c:v>
                </c:pt>
                <c:pt idx="183">
                  <c:v>44552</c:v>
                </c:pt>
                <c:pt idx="184">
                  <c:v>44553</c:v>
                </c:pt>
                <c:pt idx="185">
                  <c:v>44554</c:v>
                </c:pt>
                <c:pt idx="186">
                  <c:v>44555</c:v>
                </c:pt>
              </c:numCache>
            </c:numRef>
          </c:cat>
          <c:val>
            <c:numRef>
              <c:f>Sheet1!$B$135:$B$321</c:f>
              <c:numCache>
                <c:formatCode>General</c:formatCode>
                <c:ptCount val="187"/>
                <c:pt idx="0">
                  <c:v>2</c:v>
                </c:pt>
                <c:pt idx="1">
                  <c:v>3</c:v>
                </c:pt>
                <c:pt idx="2">
                  <c:v>1</c:v>
                </c:pt>
                <c:pt idx="3">
                  <c:v>0</c:v>
                </c:pt>
                <c:pt idx="4">
                  <c:v>0</c:v>
                </c:pt>
                <c:pt idx="5">
                  <c:v>2</c:v>
                </c:pt>
                <c:pt idx="6">
                  <c:v>1</c:v>
                </c:pt>
                <c:pt idx="7">
                  <c:v>0</c:v>
                </c:pt>
                <c:pt idx="8">
                  <c:v>1</c:v>
                </c:pt>
                <c:pt idx="9">
                  <c:v>1</c:v>
                </c:pt>
                <c:pt idx="10">
                  <c:v>2</c:v>
                </c:pt>
                <c:pt idx="11">
                  <c:v>1</c:v>
                </c:pt>
                <c:pt idx="12">
                  <c:v>2</c:v>
                </c:pt>
                <c:pt idx="13">
                  <c:v>1</c:v>
                </c:pt>
                <c:pt idx="14">
                  <c:v>4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1</c:v>
                </c:pt>
                <c:pt idx="19">
                  <c:v>1</c:v>
                </c:pt>
                <c:pt idx="20">
                  <c:v>2</c:v>
                </c:pt>
                <c:pt idx="21">
                  <c:v>3</c:v>
                </c:pt>
                <c:pt idx="22">
                  <c:v>3</c:v>
                </c:pt>
                <c:pt idx="23">
                  <c:v>3</c:v>
                </c:pt>
                <c:pt idx="24">
                  <c:v>0</c:v>
                </c:pt>
                <c:pt idx="25">
                  <c:v>0</c:v>
                </c:pt>
                <c:pt idx="26">
                  <c:v>2</c:v>
                </c:pt>
                <c:pt idx="27">
                  <c:v>5</c:v>
                </c:pt>
                <c:pt idx="28">
                  <c:v>1</c:v>
                </c:pt>
                <c:pt idx="29">
                  <c:v>4</c:v>
                </c:pt>
                <c:pt idx="30">
                  <c:v>0</c:v>
                </c:pt>
                <c:pt idx="31">
                  <c:v>4</c:v>
                </c:pt>
                <c:pt idx="32">
                  <c:v>1</c:v>
                </c:pt>
                <c:pt idx="33">
                  <c:v>1</c:v>
                </c:pt>
                <c:pt idx="34">
                  <c:v>3</c:v>
                </c:pt>
                <c:pt idx="35">
                  <c:v>0</c:v>
                </c:pt>
                <c:pt idx="36">
                  <c:v>0</c:v>
                </c:pt>
                <c:pt idx="37">
                  <c:v>2</c:v>
                </c:pt>
                <c:pt idx="38">
                  <c:v>1</c:v>
                </c:pt>
                <c:pt idx="39">
                  <c:v>1</c:v>
                </c:pt>
                <c:pt idx="40">
                  <c:v>0</c:v>
                </c:pt>
                <c:pt idx="41">
                  <c:v>0</c:v>
                </c:pt>
                <c:pt idx="42">
                  <c:v>2</c:v>
                </c:pt>
                <c:pt idx="43">
                  <c:v>1</c:v>
                </c:pt>
                <c:pt idx="44">
                  <c:v>1</c:v>
                </c:pt>
                <c:pt idx="45">
                  <c:v>1</c:v>
                </c:pt>
                <c:pt idx="46">
                  <c:v>0</c:v>
                </c:pt>
                <c:pt idx="47">
                  <c:v>0</c:v>
                </c:pt>
                <c:pt idx="48">
                  <c:v>2</c:v>
                </c:pt>
                <c:pt idx="49">
                  <c:v>2</c:v>
                </c:pt>
                <c:pt idx="50">
                  <c:v>2</c:v>
                </c:pt>
                <c:pt idx="51">
                  <c:v>1</c:v>
                </c:pt>
                <c:pt idx="52">
                  <c:v>2</c:v>
                </c:pt>
                <c:pt idx="53">
                  <c:v>3</c:v>
                </c:pt>
                <c:pt idx="54">
                  <c:v>1</c:v>
                </c:pt>
                <c:pt idx="55">
                  <c:v>3</c:v>
                </c:pt>
                <c:pt idx="56">
                  <c:v>3</c:v>
                </c:pt>
                <c:pt idx="57">
                  <c:v>2</c:v>
                </c:pt>
                <c:pt idx="58">
                  <c:v>1</c:v>
                </c:pt>
                <c:pt idx="59">
                  <c:v>0</c:v>
                </c:pt>
                <c:pt idx="60">
                  <c:v>0</c:v>
                </c:pt>
                <c:pt idx="61">
                  <c:v>1</c:v>
                </c:pt>
                <c:pt idx="62">
                  <c:v>5</c:v>
                </c:pt>
                <c:pt idx="63">
                  <c:v>2</c:v>
                </c:pt>
                <c:pt idx="64">
                  <c:v>0</c:v>
                </c:pt>
                <c:pt idx="65">
                  <c:v>2</c:v>
                </c:pt>
                <c:pt idx="66">
                  <c:v>1</c:v>
                </c:pt>
                <c:pt idx="67">
                  <c:v>2</c:v>
                </c:pt>
                <c:pt idx="68">
                  <c:v>1</c:v>
                </c:pt>
                <c:pt idx="69">
                  <c:v>0</c:v>
                </c:pt>
                <c:pt idx="70">
                  <c:v>2</c:v>
                </c:pt>
                <c:pt idx="71">
                  <c:v>1</c:v>
                </c:pt>
                <c:pt idx="72">
                  <c:v>6</c:v>
                </c:pt>
                <c:pt idx="73">
                  <c:v>6</c:v>
                </c:pt>
                <c:pt idx="74">
                  <c:v>1</c:v>
                </c:pt>
                <c:pt idx="75">
                  <c:v>1</c:v>
                </c:pt>
                <c:pt idx="76">
                  <c:v>2</c:v>
                </c:pt>
                <c:pt idx="77">
                  <c:v>6</c:v>
                </c:pt>
                <c:pt idx="78">
                  <c:v>1</c:v>
                </c:pt>
                <c:pt idx="79">
                  <c:v>4</c:v>
                </c:pt>
                <c:pt idx="80">
                  <c:v>0</c:v>
                </c:pt>
                <c:pt idx="81">
                  <c:v>1</c:v>
                </c:pt>
                <c:pt idx="82">
                  <c:v>2</c:v>
                </c:pt>
                <c:pt idx="83">
                  <c:v>3</c:v>
                </c:pt>
                <c:pt idx="84">
                  <c:v>5</c:v>
                </c:pt>
                <c:pt idx="85">
                  <c:v>3</c:v>
                </c:pt>
                <c:pt idx="86">
                  <c:v>8</c:v>
                </c:pt>
                <c:pt idx="87">
                  <c:v>6</c:v>
                </c:pt>
                <c:pt idx="88">
                  <c:v>2</c:v>
                </c:pt>
                <c:pt idx="89">
                  <c:v>2</c:v>
                </c:pt>
                <c:pt idx="90">
                  <c:v>10</c:v>
                </c:pt>
                <c:pt idx="91">
                  <c:v>7</c:v>
                </c:pt>
                <c:pt idx="92">
                  <c:v>6</c:v>
                </c:pt>
                <c:pt idx="93">
                  <c:v>5</c:v>
                </c:pt>
                <c:pt idx="94">
                  <c:v>7</c:v>
                </c:pt>
                <c:pt idx="95">
                  <c:v>6</c:v>
                </c:pt>
                <c:pt idx="96">
                  <c:v>6</c:v>
                </c:pt>
                <c:pt idx="97">
                  <c:v>5</c:v>
                </c:pt>
                <c:pt idx="98">
                  <c:v>9</c:v>
                </c:pt>
                <c:pt idx="99">
                  <c:v>12</c:v>
                </c:pt>
                <c:pt idx="100">
                  <c:v>16</c:v>
                </c:pt>
                <c:pt idx="101">
                  <c:v>8</c:v>
                </c:pt>
                <c:pt idx="102">
                  <c:v>5</c:v>
                </c:pt>
                <c:pt idx="103">
                  <c:v>8</c:v>
                </c:pt>
                <c:pt idx="104">
                  <c:v>10</c:v>
                </c:pt>
                <c:pt idx="105">
                  <c:v>13</c:v>
                </c:pt>
                <c:pt idx="106">
                  <c:v>9</c:v>
                </c:pt>
                <c:pt idx="107">
                  <c:v>8</c:v>
                </c:pt>
                <c:pt idx="108">
                  <c:v>9</c:v>
                </c:pt>
                <c:pt idx="109">
                  <c:v>5</c:v>
                </c:pt>
                <c:pt idx="110">
                  <c:v>4</c:v>
                </c:pt>
                <c:pt idx="111">
                  <c:v>18</c:v>
                </c:pt>
                <c:pt idx="112">
                  <c:v>19</c:v>
                </c:pt>
                <c:pt idx="113">
                  <c:v>22</c:v>
                </c:pt>
                <c:pt idx="114">
                  <c:v>21</c:v>
                </c:pt>
                <c:pt idx="115">
                  <c:v>17</c:v>
                </c:pt>
                <c:pt idx="116">
                  <c:v>10</c:v>
                </c:pt>
                <c:pt idx="117">
                  <c:v>10</c:v>
                </c:pt>
                <c:pt idx="118">
                  <c:v>35</c:v>
                </c:pt>
                <c:pt idx="119">
                  <c:v>29</c:v>
                </c:pt>
                <c:pt idx="120">
                  <c:v>26</c:v>
                </c:pt>
                <c:pt idx="121">
                  <c:v>53</c:v>
                </c:pt>
                <c:pt idx="122">
                  <c:v>43</c:v>
                </c:pt>
                <c:pt idx="123">
                  <c:v>34</c:v>
                </c:pt>
                <c:pt idx="124">
                  <c:v>11</c:v>
                </c:pt>
                <c:pt idx="125">
                  <c:v>65</c:v>
                </c:pt>
                <c:pt idx="126">
                  <c:v>68</c:v>
                </c:pt>
                <c:pt idx="127">
                  <c:v>77</c:v>
                </c:pt>
                <c:pt idx="128">
                  <c:v>35</c:v>
                </c:pt>
                <c:pt idx="129">
                  <c:v>82</c:v>
                </c:pt>
                <c:pt idx="130">
                  <c:v>63</c:v>
                </c:pt>
                <c:pt idx="131">
                  <c:v>37</c:v>
                </c:pt>
                <c:pt idx="132">
                  <c:v>111</c:v>
                </c:pt>
                <c:pt idx="133">
                  <c:v>104</c:v>
                </c:pt>
                <c:pt idx="134">
                  <c:v>117</c:v>
                </c:pt>
                <c:pt idx="135">
                  <c:v>102</c:v>
                </c:pt>
                <c:pt idx="136">
                  <c:v>112</c:v>
                </c:pt>
                <c:pt idx="137">
                  <c:v>83</c:v>
                </c:pt>
                <c:pt idx="138">
                  <c:v>28</c:v>
                </c:pt>
                <c:pt idx="139">
                  <c:v>134</c:v>
                </c:pt>
                <c:pt idx="140">
                  <c:v>147</c:v>
                </c:pt>
                <c:pt idx="141">
                  <c:v>168</c:v>
                </c:pt>
                <c:pt idx="142">
                  <c:v>96</c:v>
                </c:pt>
                <c:pt idx="143">
                  <c:v>161</c:v>
                </c:pt>
                <c:pt idx="144">
                  <c:v>97</c:v>
                </c:pt>
                <c:pt idx="145">
                  <c:v>54</c:v>
                </c:pt>
                <c:pt idx="146">
                  <c:v>160</c:v>
                </c:pt>
                <c:pt idx="147">
                  <c:v>229</c:v>
                </c:pt>
                <c:pt idx="148">
                  <c:v>121</c:v>
                </c:pt>
                <c:pt idx="149">
                  <c:v>167</c:v>
                </c:pt>
                <c:pt idx="150">
                  <c:v>236</c:v>
                </c:pt>
                <c:pt idx="151">
                  <c:v>154</c:v>
                </c:pt>
                <c:pt idx="152">
                  <c:v>84</c:v>
                </c:pt>
                <c:pt idx="153">
                  <c:v>192</c:v>
                </c:pt>
                <c:pt idx="154">
                  <c:v>259</c:v>
                </c:pt>
                <c:pt idx="155">
                  <c:v>141</c:v>
                </c:pt>
                <c:pt idx="156">
                  <c:v>214</c:v>
                </c:pt>
                <c:pt idx="157">
                  <c:v>188</c:v>
                </c:pt>
                <c:pt idx="158">
                  <c:v>108</c:v>
                </c:pt>
                <c:pt idx="159">
                  <c:v>78</c:v>
                </c:pt>
                <c:pt idx="160">
                  <c:v>200</c:v>
                </c:pt>
                <c:pt idx="161">
                  <c:v>163</c:v>
                </c:pt>
                <c:pt idx="162">
                  <c:v>175</c:v>
                </c:pt>
                <c:pt idx="163">
                  <c:v>145</c:v>
                </c:pt>
                <c:pt idx="164">
                  <c:v>146</c:v>
                </c:pt>
                <c:pt idx="165">
                  <c:v>86</c:v>
                </c:pt>
                <c:pt idx="166">
                  <c:v>65</c:v>
                </c:pt>
                <c:pt idx="167">
                  <c:v>167</c:v>
                </c:pt>
                <c:pt idx="168">
                  <c:v>153</c:v>
                </c:pt>
                <c:pt idx="169">
                  <c:v>120</c:v>
                </c:pt>
                <c:pt idx="170">
                  <c:v>127</c:v>
                </c:pt>
                <c:pt idx="171">
                  <c:v>112</c:v>
                </c:pt>
                <c:pt idx="172">
                  <c:v>74</c:v>
                </c:pt>
                <c:pt idx="173">
                  <c:v>58</c:v>
                </c:pt>
                <c:pt idx="174">
                  <c:v>103</c:v>
                </c:pt>
                <c:pt idx="175">
                  <c:v>124</c:v>
                </c:pt>
                <c:pt idx="176">
                  <c:v>86</c:v>
                </c:pt>
                <c:pt idx="177">
                  <c:v>65</c:v>
                </c:pt>
                <c:pt idx="178">
                  <c:v>81</c:v>
                </c:pt>
                <c:pt idx="179">
                  <c:v>48</c:v>
                </c:pt>
                <c:pt idx="180">
                  <c:v>33</c:v>
                </c:pt>
                <c:pt idx="181">
                  <c:v>91</c:v>
                </c:pt>
                <c:pt idx="182">
                  <c:v>83</c:v>
                </c:pt>
                <c:pt idx="183">
                  <c:v>51</c:v>
                </c:pt>
                <c:pt idx="184">
                  <c:v>57</c:v>
                </c:pt>
                <c:pt idx="185">
                  <c:v>20</c:v>
                </c:pt>
                <c:pt idx="186">
                  <c:v>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A3F-4C94-8915-777191685E7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19856463840257E-2"/>
          <c:y val="1.7338673528478215E-2"/>
          <c:w val="0.80334957098880577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20</c:v>
                </c:pt>
              </c:strCache>
            </c:strRef>
          </c:tx>
          <c:spPr>
            <a:ln w="28575" cap="rnd">
              <a:solidFill>
                <a:srgbClr val="00B0F0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O$1:$AE$1</c:f>
              <c:strCache>
                <c:ptCount val="17"/>
                <c:pt idx="0">
                  <c:v>29.08 - 04.09</c:v>
                </c:pt>
                <c:pt idx="1">
                  <c:v>05.09 - 11.09</c:v>
                </c:pt>
                <c:pt idx="2">
                  <c:v>12.09 - 18.09</c:v>
                </c:pt>
                <c:pt idx="3">
                  <c:v>19.09 - 25.09</c:v>
                </c:pt>
                <c:pt idx="4">
                  <c:v>26.09 - 02.10</c:v>
                </c:pt>
                <c:pt idx="5">
                  <c:v>03.10 - 09.10</c:v>
                </c:pt>
                <c:pt idx="6">
                  <c:v>10.10 - 16.10</c:v>
                </c:pt>
                <c:pt idx="7">
                  <c:v>17.10 - 23.10</c:v>
                </c:pt>
                <c:pt idx="8">
                  <c:v>24.10 - 30.10</c:v>
                </c:pt>
                <c:pt idx="9">
                  <c:v>31.10 - 06.11</c:v>
                </c:pt>
                <c:pt idx="10">
                  <c:v>07.11 - 13.11</c:v>
                </c:pt>
                <c:pt idx="11">
                  <c:v>14.11 - 20.11</c:v>
                </c:pt>
                <c:pt idx="12">
                  <c:v>21.11 - 27.11</c:v>
                </c:pt>
                <c:pt idx="13">
                  <c:v>28.11 - 04.12</c:v>
                </c:pt>
                <c:pt idx="14">
                  <c:v>05.12 - 11.12</c:v>
                </c:pt>
                <c:pt idx="15">
                  <c:v>12.12 - 18.12</c:v>
                </c:pt>
                <c:pt idx="16">
                  <c:v>19.12 - 25.12</c:v>
                </c:pt>
              </c:strCache>
            </c:strRef>
          </c:cat>
          <c:val>
            <c:numRef>
              <c:f>List1!$O$2:$AE$2</c:f>
              <c:numCache>
                <c:formatCode>General</c:formatCode>
                <c:ptCount val="17"/>
                <c:pt idx="0">
                  <c:v>11.4183895</c:v>
                </c:pt>
                <c:pt idx="1">
                  <c:v>18.162669900000001</c:v>
                </c:pt>
                <c:pt idx="2">
                  <c:v>38.528113500000003</c:v>
                </c:pt>
                <c:pt idx="3">
                  <c:v>45.640234100000001</c:v>
                </c:pt>
                <c:pt idx="4">
                  <c:v>67.738230299999998</c:v>
                </c:pt>
                <c:pt idx="5">
                  <c:v>136.28882580000001</c:v>
                </c:pt>
                <c:pt idx="6">
                  <c:v>257.73736810000003</c:v>
                </c:pt>
                <c:pt idx="7">
                  <c:v>410.51717889999998</c:v>
                </c:pt>
                <c:pt idx="8">
                  <c:v>430.4687543</c:v>
                </c:pt>
                <c:pt idx="9">
                  <c:v>350.65695870000002</c:v>
                </c:pt>
                <c:pt idx="10">
                  <c:v>218.34700029999999</c:v>
                </c:pt>
                <c:pt idx="11">
                  <c:v>173.5823527</c:v>
                </c:pt>
                <c:pt idx="12">
                  <c:v>152.40955890000001</c:v>
                </c:pt>
                <c:pt idx="13">
                  <c:v>144.32780600000001</c:v>
                </c:pt>
                <c:pt idx="14">
                  <c:v>170.27477099999999</c:v>
                </c:pt>
                <c:pt idx="15">
                  <c:v>167.76104169999999</c:v>
                </c:pt>
                <c:pt idx="16">
                  <c:v>174.3941223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D4FA-4D94-A4CE-CDB0E0CDD4B1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2021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O$1:$AE$1</c:f>
              <c:strCache>
                <c:ptCount val="17"/>
                <c:pt idx="0">
                  <c:v>29.08 - 04.09</c:v>
                </c:pt>
                <c:pt idx="1">
                  <c:v>05.09 - 11.09</c:v>
                </c:pt>
                <c:pt idx="2">
                  <c:v>12.09 - 18.09</c:v>
                </c:pt>
                <c:pt idx="3">
                  <c:v>19.09 - 25.09</c:v>
                </c:pt>
                <c:pt idx="4">
                  <c:v>26.09 - 02.10</c:v>
                </c:pt>
                <c:pt idx="5">
                  <c:v>03.10 - 09.10</c:v>
                </c:pt>
                <c:pt idx="6">
                  <c:v>10.10 - 16.10</c:v>
                </c:pt>
                <c:pt idx="7">
                  <c:v>17.10 - 23.10</c:v>
                </c:pt>
                <c:pt idx="8">
                  <c:v>24.10 - 30.10</c:v>
                </c:pt>
                <c:pt idx="9">
                  <c:v>31.10 - 06.11</c:v>
                </c:pt>
                <c:pt idx="10">
                  <c:v>07.11 - 13.11</c:v>
                </c:pt>
                <c:pt idx="11">
                  <c:v>14.11 - 20.11</c:v>
                </c:pt>
                <c:pt idx="12">
                  <c:v>21.11 - 27.11</c:v>
                </c:pt>
                <c:pt idx="13">
                  <c:v>28.11 - 04.12</c:v>
                </c:pt>
                <c:pt idx="14">
                  <c:v>05.12 - 11.12</c:v>
                </c:pt>
                <c:pt idx="15">
                  <c:v>12.12 - 18.12</c:v>
                </c:pt>
                <c:pt idx="16">
                  <c:v>19.12 - 25.12</c:v>
                </c:pt>
              </c:strCache>
            </c:strRef>
          </c:cat>
          <c:val>
            <c:numRef>
              <c:f>List1!$O$3:$AE$3</c:f>
              <c:numCache>
                <c:formatCode>General</c:formatCode>
                <c:ptCount val="17"/>
                <c:pt idx="0">
                  <c:v>2.2050078000000002</c:v>
                </c:pt>
                <c:pt idx="1">
                  <c:v>1.9279231999999999</c:v>
                </c:pt>
                <c:pt idx="2">
                  <c:v>3.5774680000000001</c:v>
                </c:pt>
                <c:pt idx="3">
                  <c:v>5.9117011000000002</c:v>
                </c:pt>
                <c:pt idx="4">
                  <c:v>7.8301005000000004</c:v>
                </c:pt>
                <c:pt idx="5">
                  <c:v>8.3774061999999994</c:v>
                </c:pt>
                <c:pt idx="6">
                  <c:v>14.282673300000001</c:v>
                </c:pt>
                <c:pt idx="7">
                  <c:v>28.702443500000001</c:v>
                </c:pt>
                <c:pt idx="8">
                  <c:v>50.400457000000003</c:v>
                </c:pt>
                <c:pt idx="9">
                  <c:v>86.108158399999994</c:v>
                </c:pt>
                <c:pt idx="10">
                  <c:v>105.61663489999999</c:v>
                </c:pt>
                <c:pt idx="11">
                  <c:v>141.3343112</c:v>
                </c:pt>
                <c:pt idx="12">
                  <c:v>151.09599539999999</c:v>
                </c:pt>
                <c:pt idx="13">
                  <c:v>124.059763</c:v>
                </c:pt>
                <c:pt idx="14">
                  <c:v>103.3796342</c:v>
                </c:pt>
                <c:pt idx="15">
                  <c:v>70.020304499999995</c:v>
                </c:pt>
                <c:pt idx="16">
                  <c:v>75.1495764999999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4FA-4D94-A4CE-CDB0E0CDD4B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5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5809610965008587"/>
          <c:y val="0.27545860500728103"/>
          <c:w val="0.14190389034991419"/>
          <c:h val="0.4944791082477983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6097904626E-2"/>
          <c:y val="0.11530977652557951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35:$A$321</c:f>
              <c:numCache>
                <c:formatCode>m/d/yyyy</c:formatCode>
                <c:ptCount val="187"/>
                <c:pt idx="0">
                  <c:v>44364</c:v>
                </c:pt>
                <c:pt idx="1">
                  <c:v>44365</c:v>
                </c:pt>
                <c:pt idx="2">
                  <c:v>44366</c:v>
                </c:pt>
                <c:pt idx="3">
                  <c:v>44367</c:v>
                </c:pt>
                <c:pt idx="4">
                  <c:v>44369</c:v>
                </c:pt>
                <c:pt idx="5">
                  <c:v>44370</c:v>
                </c:pt>
                <c:pt idx="6">
                  <c:v>44371</c:v>
                </c:pt>
                <c:pt idx="7">
                  <c:v>44373</c:v>
                </c:pt>
                <c:pt idx="8">
                  <c:v>44374</c:v>
                </c:pt>
                <c:pt idx="9">
                  <c:v>44375</c:v>
                </c:pt>
                <c:pt idx="10">
                  <c:v>44376</c:v>
                </c:pt>
                <c:pt idx="11">
                  <c:v>44378</c:v>
                </c:pt>
                <c:pt idx="12">
                  <c:v>44379</c:v>
                </c:pt>
                <c:pt idx="13">
                  <c:v>44381</c:v>
                </c:pt>
                <c:pt idx="14">
                  <c:v>44382</c:v>
                </c:pt>
                <c:pt idx="15">
                  <c:v>44383</c:v>
                </c:pt>
                <c:pt idx="16">
                  <c:v>44384</c:v>
                </c:pt>
                <c:pt idx="17">
                  <c:v>44385</c:v>
                </c:pt>
                <c:pt idx="18">
                  <c:v>44386</c:v>
                </c:pt>
                <c:pt idx="19">
                  <c:v>44387</c:v>
                </c:pt>
                <c:pt idx="20">
                  <c:v>44389</c:v>
                </c:pt>
                <c:pt idx="21">
                  <c:v>44390</c:v>
                </c:pt>
                <c:pt idx="22">
                  <c:v>44391</c:v>
                </c:pt>
                <c:pt idx="23">
                  <c:v>44392</c:v>
                </c:pt>
                <c:pt idx="24">
                  <c:v>44393</c:v>
                </c:pt>
                <c:pt idx="25">
                  <c:v>44394</c:v>
                </c:pt>
                <c:pt idx="26">
                  <c:v>44395</c:v>
                </c:pt>
                <c:pt idx="27">
                  <c:v>44396</c:v>
                </c:pt>
                <c:pt idx="28">
                  <c:v>44397</c:v>
                </c:pt>
                <c:pt idx="29">
                  <c:v>44398</c:v>
                </c:pt>
                <c:pt idx="30">
                  <c:v>44399</c:v>
                </c:pt>
                <c:pt idx="31">
                  <c:v>44400</c:v>
                </c:pt>
                <c:pt idx="32">
                  <c:v>44401</c:v>
                </c:pt>
                <c:pt idx="33">
                  <c:v>44402</c:v>
                </c:pt>
                <c:pt idx="34">
                  <c:v>44403</c:v>
                </c:pt>
                <c:pt idx="35">
                  <c:v>44404</c:v>
                </c:pt>
                <c:pt idx="36">
                  <c:v>44405</c:v>
                </c:pt>
                <c:pt idx="37">
                  <c:v>44406</c:v>
                </c:pt>
                <c:pt idx="38">
                  <c:v>44407</c:v>
                </c:pt>
                <c:pt idx="39">
                  <c:v>44408</c:v>
                </c:pt>
                <c:pt idx="40">
                  <c:v>44409</c:v>
                </c:pt>
                <c:pt idx="41">
                  <c:v>44410</c:v>
                </c:pt>
                <c:pt idx="42">
                  <c:v>44411</c:v>
                </c:pt>
                <c:pt idx="43">
                  <c:v>44412</c:v>
                </c:pt>
                <c:pt idx="44">
                  <c:v>44413</c:v>
                </c:pt>
                <c:pt idx="45">
                  <c:v>44414</c:v>
                </c:pt>
                <c:pt idx="46">
                  <c:v>44415</c:v>
                </c:pt>
                <c:pt idx="47">
                  <c:v>44416</c:v>
                </c:pt>
                <c:pt idx="48">
                  <c:v>44417</c:v>
                </c:pt>
                <c:pt idx="49">
                  <c:v>44418</c:v>
                </c:pt>
                <c:pt idx="50">
                  <c:v>44419</c:v>
                </c:pt>
                <c:pt idx="51">
                  <c:v>44420</c:v>
                </c:pt>
                <c:pt idx="52">
                  <c:v>44421</c:v>
                </c:pt>
                <c:pt idx="53">
                  <c:v>44422</c:v>
                </c:pt>
                <c:pt idx="54">
                  <c:v>44423</c:v>
                </c:pt>
                <c:pt idx="55">
                  <c:v>44424</c:v>
                </c:pt>
                <c:pt idx="56">
                  <c:v>44425</c:v>
                </c:pt>
                <c:pt idx="57">
                  <c:v>44426</c:v>
                </c:pt>
                <c:pt idx="58">
                  <c:v>44427</c:v>
                </c:pt>
                <c:pt idx="59">
                  <c:v>44428</c:v>
                </c:pt>
                <c:pt idx="60">
                  <c:v>44429</c:v>
                </c:pt>
                <c:pt idx="61">
                  <c:v>44430</c:v>
                </c:pt>
                <c:pt idx="62">
                  <c:v>44431</c:v>
                </c:pt>
                <c:pt idx="63">
                  <c:v>44432</c:v>
                </c:pt>
                <c:pt idx="64">
                  <c:v>44433</c:v>
                </c:pt>
                <c:pt idx="65">
                  <c:v>44434</c:v>
                </c:pt>
                <c:pt idx="66">
                  <c:v>44435</c:v>
                </c:pt>
                <c:pt idx="67">
                  <c:v>44436</c:v>
                </c:pt>
                <c:pt idx="68">
                  <c:v>44437</c:v>
                </c:pt>
                <c:pt idx="69">
                  <c:v>44438</c:v>
                </c:pt>
                <c:pt idx="70">
                  <c:v>44439</c:v>
                </c:pt>
                <c:pt idx="71">
                  <c:v>44440</c:v>
                </c:pt>
                <c:pt idx="72">
                  <c:v>44441</c:v>
                </c:pt>
                <c:pt idx="73">
                  <c:v>44442</c:v>
                </c:pt>
                <c:pt idx="74">
                  <c:v>44443</c:v>
                </c:pt>
                <c:pt idx="75">
                  <c:v>44444</c:v>
                </c:pt>
                <c:pt idx="76">
                  <c:v>44445</c:v>
                </c:pt>
                <c:pt idx="77">
                  <c:v>44446</c:v>
                </c:pt>
                <c:pt idx="78">
                  <c:v>44447</c:v>
                </c:pt>
                <c:pt idx="79">
                  <c:v>44448</c:v>
                </c:pt>
                <c:pt idx="80">
                  <c:v>44449</c:v>
                </c:pt>
                <c:pt idx="81">
                  <c:v>44450</c:v>
                </c:pt>
                <c:pt idx="82">
                  <c:v>44451</c:v>
                </c:pt>
                <c:pt idx="83">
                  <c:v>44452</c:v>
                </c:pt>
                <c:pt idx="84">
                  <c:v>44453</c:v>
                </c:pt>
                <c:pt idx="85">
                  <c:v>44454</c:v>
                </c:pt>
                <c:pt idx="86">
                  <c:v>44455</c:v>
                </c:pt>
                <c:pt idx="87">
                  <c:v>44456</c:v>
                </c:pt>
                <c:pt idx="88">
                  <c:v>44457</c:v>
                </c:pt>
                <c:pt idx="89">
                  <c:v>44458</c:v>
                </c:pt>
                <c:pt idx="90">
                  <c:v>44459</c:v>
                </c:pt>
                <c:pt idx="91">
                  <c:v>44460</c:v>
                </c:pt>
                <c:pt idx="92">
                  <c:v>44461</c:v>
                </c:pt>
                <c:pt idx="93">
                  <c:v>44462</c:v>
                </c:pt>
                <c:pt idx="94">
                  <c:v>44463</c:v>
                </c:pt>
                <c:pt idx="95">
                  <c:v>44464</c:v>
                </c:pt>
                <c:pt idx="96">
                  <c:v>44465</c:v>
                </c:pt>
                <c:pt idx="97">
                  <c:v>44466</c:v>
                </c:pt>
                <c:pt idx="98">
                  <c:v>44467</c:v>
                </c:pt>
                <c:pt idx="99">
                  <c:v>44468</c:v>
                </c:pt>
                <c:pt idx="100">
                  <c:v>44469</c:v>
                </c:pt>
                <c:pt idx="101">
                  <c:v>44470</c:v>
                </c:pt>
                <c:pt idx="102">
                  <c:v>44471</c:v>
                </c:pt>
                <c:pt idx="103">
                  <c:v>44472</c:v>
                </c:pt>
                <c:pt idx="104">
                  <c:v>44473</c:v>
                </c:pt>
                <c:pt idx="105">
                  <c:v>44474</c:v>
                </c:pt>
                <c:pt idx="106">
                  <c:v>44475</c:v>
                </c:pt>
                <c:pt idx="107">
                  <c:v>44476</c:v>
                </c:pt>
                <c:pt idx="108">
                  <c:v>44477</c:v>
                </c:pt>
                <c:pt idx="109">
                  <c:v>44478</c:v>
                </c:pt>
                <c:pt idx="110">
                  <c:v>44479</c:v>
                </c:pt>
                <c:pt idx="111">
                  <c:v>44480</c:v>
                </c:pt>
                <c:pt idx="112">
                  <c:v>44481</c:v>
                </c:pt>
                <c:pt idx="113">
                  <c:v>44482</c:v>
                </c:pt>
                <c:pt idx="114">
                  <c:v>44483</c:v>
                </c:pt>
                <c:pt idx="115">
                  <c:v>44484</c:v>
                </c:pt>
                <c:pt idx="116">
                  <c:v>44485</c:v>
                </c:pt>
                <c:pt idx="117">
                  <c:v>44486</c:v>
                </c:pt>
                <c:pt idx="118">
                  <c:v>44487</c:v>
                </c:pt>
                <c:pt idx="119">
                  <c:v>44488</c:v>
                </c:pt>
                <c:pt idx="120">
                  <c:v>44489</c:v>
                </c:pt>
                <c:pt idx="121">
                  <c:v>44490</c:v>
                </c:pt>
                <c:pt idx="122">
                  <c:v>44491</c:v>
                </c:pt>
                <c:pt idx="123">
                  <c:v>44492</c:v>
                </c:pt>
                <c:pt idx="124">
                  <c:v>44493</c:v>
                </c:pt>
                <c:pt idx="125">
                  <c:v>44494</c:v>
                </c:pt>
                <c:pt idx="126">
                  <c:v>44495</c:v>
                </c:pt>
                <c:pt idx="127">
                  <c:v>44496</c:v>
                </c:pt>
                <c:pt idx="128">
                  <c:v>44497</c:v>
                </c:pt>
                <c:pt idx="129">
                  <c:v>44498</c:v>
                </c:pt>
                <c:pt idx="130">
                  <c:v>44499</c:v>
                </c:pt>
                <c:pt idx="131">
                  <c:v>44500</c:v>
                </c:pt>
                <c:pt idx="132">
                  <c:v>44501</c:v>
                </c:pt>
                <c:pt idx="133">
                  <c:v>44502</c:v>
                </c:pt>
                <c:pt idx="134">
                  <c:v>44503</c:v>
                </c:pt>
                <c:pt idx="135">
                  <c:v>44504</c:v>
                </c:pt>
                <c:pt idx="136">
                  <c:v>44505</c:v>
                </c:pt>
                <c:pt idx="137">
                  <c:v>44506</c:v>
                </c:pt>
                <c:pt idx="138">
                  <c:v>44507</c:v>
                </c:pt>
                <c:pt idx="139">
                  <c:v>44508</c:v>
                </c:pt>
                <c:pt idx="140">
                  <c:v>44509</c:v>
                </c:pt>
                <c:pt idx="141">
                  <c:v>44510</c:v>
                </c:pt>
                <c:pt idx="142">
                  <c:v>44511</c:v>
                </c:pt>
                <c:pt idx="143">
                  <c:v>44512</c:v>
                </c:pt>
                <c:pt idx="144">
                  <c:v>44513</c:v>
                </c:pt>
                <c:pt idx="145">
                  <c:v>44514</c:v>
                </c:pt>
                <c:pt idx="146">
                  <c:v>44515</c:v>
                </c:pt>
                <c:pt idx="147">
                  <c:v>44516</c:v>
                </c:pt>
                <c:pt idx="148">
                  <c:v>44517</c:v>
                </c:pt>
                <c:pt idx="149">
                  <c:v>44518</c:v>
                </c:pt>
                <c:pt idx="150">
                  <c:v>44519</c:v>
                </c:pt>
                <c:pt idx="151">
                  <c:v>44520</c:v>
                </c:pt>
                <c:pt idx="152">
                  <c:v>44521</c:v>
                </c:pt>
                <c:pt idx="153">
                  <c:v>44522</c:v>
                </c:pt>
                <c:pt idx="154">
                  <c:v>44523</c:v>
                </c:pt>
                <c:pt idx="155">
                  <c:v>44524</c:v>
                </c:pt>
                <c:pt idx="156">
                  <c:v>44525</c:v>
                </c:pt>
                <c:pt idx="157">
                  <c:v>44526</c:v>
                </c:pt>
                <c:pt idx="158">
                  <c:v>44527</c:v>
                </c:pt>
                <c:pt idx="159">
                  <c:v>44528</c:v>
                </c:pt>
                <c:pt idx="160">
                  <c:v>44529</c:v>
                </c:pt>
                <c:pt idx="161">
                  <c:v>44530</c:v>
                </c:pt>
                <c:pt idx="162">
                  <c:v>44531</c:v>
                </c:pt>
                <c:pt idx="163">
                  <c:v>44532</c:v>
                </c:pt>
                <c:pt idx="164">
                  <c:v>44533</c:v>
                </c:pt>
                <c:pt idx="165">
                  <c:v>44534</c:v>
                </c:pt>
                <c:pt idx="166">
                  <c:v>44535</c:v>
                </c:pt>
                <c:pt idx="167">
                  <c:v>44536</c:v>
                </c:pt>
                <c:pt idx="168">
                  <c:v>44537</c:v>
                </c:pt>
                <c:pt idx="169">
                  <c:v>44538</c:v>
                </c:pt>
                <c:pt idx="170">
                  <c:v>44539</c:v>
                </c:pt>
                <c:pt idx="171">
                  <c:v>44540</c:v>
                </c:pt>
                <c:pt idx="172">
                  <c:v>44541</c:v>
                </c:pt>
                <c:pt idx="173">
                  <c:v>44542</c:v>
                </c:pt>
                <c:pt idx="174">
                  <c:v>44543</c:v>
                </c:pt>
                <c:pt idx="175">
                  <c:v>44544</c:v>
                </c:pt>
                <c:pt idx="176">
                  <c:v>44545</c:v>
                </c:pt>
                <c:pt idx="177">
                  <c:v>44546</c:v>
                </c:pt>
                <c:pt idx="178">
                  <c:v>44547</c:v>
                </c:pt>
                <c:pt idx="179">
                  <c:v>44548</c:v>
                </c:pt>
                <c:pt idx="180">
                  <c:v>44549</c:v>
                </c:pt>
                <c:pt idx="181">
                  <c:v>44550</c:v>
                </c:pt>
                <c:pt idx="182">
                  <c:v>44551</c:v>
                </c:pt>
                <c:pt idx="183">
                  <c:v>44552</c:v>
                </c:pt>
                <c:pt idx="184">
                  <c:v>44553</c:v>
                </c:pt>
                <c:pt idx="185">
                  <c:v>44554</c:v>
                </c:pt>
                <c:pt idx="186">
                  <c:v>44555</c:v>
                </c:pt>
              </c:numCache>
            </c:numRef>
          </c:cat>
          <c:val>
            <c:numRef>
              <c:f>Sheet1!$B$135:$B$321</c:f>
              <c:numCache>
                <c:formatCode>General</c:formatCode>
                <c:ptCount val="187"/>
                <c:pt idx="0">
                  <c:v>2</c:v>
                </c:pt>
                <c:pt idx="1">
                  <c:v>0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2</c:v>
                </c:pt>
                <c:pt idx="6">
                  <c:v>2</c:v>
                </c:pt>
                <c:pt idx="7">
                  <c:v>1</c:v>
                </c:pt>
                <c:pt idx="8">
                  <c:v>2</c:v>
                </c:pt>
                <c:pt idx="9">
                  <c:v>0</c:v>
                </c:pt>
                <c:pt idx="10">
                  <c:v>1</c:v>
                </c:pt>
                <c:pt idx="11">
                  <c:v>0</c:v>
                </c:pt>
                <c:pt idx="12">
                  <c:v>2</c:v>
                </c:pt>
                <c:pt idx="13">
                  <c:v>0</c:v>
                </c:pt>
                <c:pt idx="14">
                  <c:v>0</c:v>
                </c:pt>
                <c:pt idx="15">
                  <c:v>1</c:v>
                </c:pt>
                <c:pt idx="16">
                  <c:v>1</c:v>
                </c:pt>
                <c:pt idx="17">
                  <c:v>4</c:v>
                </c:pt>
                <c:pt idx="18">
                  <c:v>4</c:v>
                </c:pt>
                <c:pt idx="19">
                  <c:v>0</c:v>
                </c:pt>
                <c:pt idx="20">
                  <c:v>3</c:v>
                </c:pt>
                <c:pt idx="21">
                  <c:v>0</c:v>
                </c:pt>
                <c:pt idx="22">
                  <c:v>4</c:v>
                </c:pt>
                <c:pt idx="23">
                  <c:v>2</c:v>
                </c:pt>
                <c:pt idx="24">
                  <c:v>5</c:v>
                </c:pt>
                <c:pt idx="25">
                  <c:v>1</c:v>
                </c:pt>
                <c:pt idx="26">
                  <c:v>1</c:v>
                </c:pt>
                <c:pt idx="27">
                  <c:v>4</c:v>
                </c:pt>
                <c:pt idx="28">
                  <c:v>5</c:v>
                </c:pt>
                <c:pt idx="29">
                  <c:v>1</c:v>
                </c:pt>
                <c:pt idx="30">
                  <c:v>3</c:v>
                </c:pt>
                <c:pt idx="31">
                  <c:v>2</c:v>
                </c:pt>
                <c:pt idx="32">
                  <c:v>0</c:v>
                </c:pt>
                <c:pt idx="33">
                  <c:v>2</c:v>
                </c:pt>
                <c:pt idx="34">
                  <c:v>3</c:v>
                </c:pt>
                <c:pt idx="35">
                  <c:v>4</c:v>
                </c:pt>
                <c:pt idx="36">
                  <c:v>1</c:v>
                </c:pt>
                <c:pt idx="37">
                  <c:v>4</c:v>
                </c:pt>
                <c:pt idx="38">
                  <c:v>1</c:v>
                </c:pt>
                <c:pt idx="39">
                  <c:v>1</c:v>
                </c:pt>
                <c:pt idx="40">
                  <c:v>1</c:v>
                </c:pt>
                <c:pt idx="41">
                  <c:v>2</c:v>
                </c:pt>
                <c:pt idx="42">
                  <c:v>4</c:v>
                </c:pt>
                <c:pt idx="43">
                  <c:v>3</c:v>
                </c:pt>
                <c:pt idx="44">
                  <c:v>1</c:v>
                </c:pt>
                <c:pt idx="45">
                  <c:v>3</c:v>
                </c:pt>
                <c:pt idx="46">
                  <c:v>1</c:v>
                </c:pt>
                <c:pt idx="47">
                  <c:v>0</c:v>
                </c:pt>
                <c:pt idx="48">
                  <c:v>8</c:v>
                </c:pt>
                <c:pt idx="49">
                  <c:v>1</c:v>
                </c:pt>
                <c:pt idx="50">
                  <c:v>1</c:v>
                </c:pt>
                <c:pt idx="51">
                  <c:v>2</c:v>
                </c:pt>
                <c:pt idx="52">
                  <c:v>6</c:v>
                </c:pt>
                <c:pt idx="53">
                  <c:v>2</c:v>
                </c:pt>
                <c:pt idx="54">
                  <c:v>1</c:v>
                </c:pt>
                <c:pt idx="55">
                  <c:v>1</c:v>
                </c:pt>
                <c:pt idx="56">
                  <c:v>1</c:v>
                </c:pt>
                <c:pt idx="57">
                  <c:v>1</c:v>
                </c:pt>
                <c:pt idx="58">
                  <c:v>0</c:v>
                </c:pt>
                <c:pt idx="59">
                  <c:v>3</c:v>
                </c:pt>
                <c:pt idx="60">
                  <c:v>2</c:v>
                </c:pt>
                <c:pt idx="61">
                  <c:v>2</c:v>
                </c:pt>
                <c:pt idx="62">
                  <c:v>1</c:v>
                </c:pt>
                <c:pt idx="63">
                  <c:v>3</c:v>
                </c:pt>
                <c:pt idx="64">
                  <c:v>5</c:v>
                </c:pt>
                <c:pt idx="65">
                  <c:v>2</c:v>
                </c:pt>
                <c:pt idx="66">
                  <c:v>2</c:v>
                </c:pt>
                <c:pt idx="67">
                  <c:v>0</c:v>
                </c:pt>
                <c:pt idx="68">
                  <c:v>1</c:v>
                </c:pt>
                <c:pt idx="69">
                  <c:v>1</c:v>
                </c:pt>
                <c:pt idx="70">
                  <c:v>1</c:v>
                </c:pt>
                <c:pt idx="71">
                  <c:v>2</c:v>
                </c:pt>
                <c:pt idx="72">
                  <c:v>5</c:v>
                </c:pt>
                <c:pt idx="73">
                  <c:v>6</c:v>
                </c:pt>
                <c:pt idx="74">
                  <c:v>5</c:v>
                </c:pt>
                <c:pt idx="75">
                  <c:v>1</c:v>
                </c:pt>
                <c:pt idx="76">
                  <c:v>5</c:v>
                </c:pt>
                <c:pt idx="77">
                  <c:v>4</c:v>
                </c:pt>
                <c:pt idx="78">
                  <c:v>1</c:v>
                </c:pt>
                <c:pt idx="79">
                  <c:v>3</c:v>
                </c:pt>
                <c:pt idx="80">
                  <c:v>2</c:v>
                </c:pt>
                <c:pt idx="81">
                  <c:v>0</c:v>
                </c:pt>
                <c:pt idx="82">
                  <c:v>3</c:v>
                </c:pt>
                <c:pt idx="83">
                  <c:v>2</c:v>
                </c:pt>
                <c:pt idx="84">
                  <c:v>3</c:v>
                </c:pt>
                <c:pt idx="85">
                  <c:v>5</c:v>
                </c:pt>
                <c:pt idx="86">
                  <c:v>7</c:v>
                </c:pt>
                <c:pt idx="87">
                  <c:v>4</c:v>
                </c:pt>
                <c:pt idx="88">
                  <c:v>2</c:v>
                </c:pt>
                <c:pt idx="89">
                  <c:v>6</c:v>
                </c:pt>
                <c:pt idx="90">
                  <c:v>8</c:v>
                </c:pt>
                <c:pt idx="91">
                  <c:v>9</c:v>
                </c:pt>
                <c:pt idx="92">
                  <c:v>8</c:v>
                </c:pt>
                <c:pt idx="93">
                  <c:v>7</c:v>
                </c:pt>
                <c:pt idx="94">
                  <c:v>5</c:v>
                </c:pt>
                <c:pt idx="95">
                  <c:v>4</c:v>
                </c:pt>
                <c:pt idx="96">
                  <c:v>2</c:v>
                </c:pt>
                <c:pt idx="97">
                  <c:v>7</c:v>
                </c:pt>
                <c:pt idx="98">
                  <c:v>6</c:v>
                </c:pt>
                <c:pt idx="99">
                  <c:v>9</c:v>
                </c:pt>
                <c:pt idx="100">
                  <c:v>12</c:v>
                </c:pt>
                <c:pt idx="101">
                  <c:v>11</c:v>
                </c:pt>
                <c:pt idx="102">
                  <c:v>4</c:v>
                </c:pt>
                <c:pt idx="103">
                  <c:v>7</c:v>
                </c:pt>
                <c:pt idx="104">
                  <c:v>10</c:v>
                </c:pt>
                <c:pt idx="105">
                  <c:v>13</c:v>
                </c:pt>
                <c:pt idx="106">
                  <c:v>13</c:v>
                </c:pt>
                <c:pt idx="107">
                  <c:v>16</c:v>
                </c:pt>
                <c:pt idx="108">
                  <c:v>10</c:v>
                </c:pt>
                <c:pt idx="109">
                  <c:v>8</c:v>
                </c:pt>
                <c:pt idx="110">
                  <c:v>5</c:v>
                </c:pt>
                <c:pt idx="111">
                  <c:v>19</c:v>
                </c:pt>
                <c:pt idx="112">
                  <c:v>31</c:v>
                </c:pt>
                <c:pt idx="113">
                  <c:v>18</c:v>
                </c:pt>
                <c:pt idx="114">
                  <c:v>19</c:v>
                </c:pt>
                <c:pt idx="115">
                  <c:v>14</c:v>
                </c:pt>
                <c:pt idx="116">
                  <c:v>9</c:v>
                </c:pt>
                <c:pt idx="117">
                  <c:v>13</c:v>
                </c:pt>
                <c:pt idx="118">
                  <c:v>39</c:v>
                </c:pt>
                <c:pt idx="119">
                  <c:v>55</c:v>
                </c:pt>
                <c:pt idx="120">
                  <c:v>50</c:v>
                </c:pt>
                <c:pt idx="121">
                  <c:v>54</c:v>
                </c:pt>
                <c:pt idx="122">
                  <c:v>46</c:v>
                </c:pt>
                <c:pt idx="123">
                  <c:v>28</c:v>
                </c:pt>
                <c:pt idx="124">
                  <c:v>22</c:v>
                </c:pt>
                <c:pt idx="125">
                  <c:v>81</c:v>
                </c:pt>
                <c:pt idx="126">
                  <c:v>87</c:v>
                </c:pt>
                <c:pt idx="127">
                  <c:v>65</c:v>
                </c:pt>
                <c:pt idx="128">
                  <c:v>41</c:v>
                </c:pt>
                <c:pt idx="129">
                  <c:v>83</c:v>
                </c:pt>
                <c:pt idx="130">
                  <c:v>55</c:v>
                </c:pt>
                <c:pt idx="131">
                  <c:v>42</c:v>
                </c:pt>
                <c:pt idx="132">
                  <c:v>136</c:v>
                </c:pt>
                <c:pt idx="133">
                  <c:v>128</c:v>
                </c:pt>
                <c:pt idx="134">
                  <c:v>107</c:v>
                </c:pt>
                <c:pt idx="135">
                  <c:v>115</c:v>
                </c:pt>
                <c:pt idx="136">
                  <c:v>133</c:v>
                </c:pt>
                <c:pt idx="137">
                  <c:v>55</c:v>
                </c:pt>
                <c:pt idx="138">
                  <c:v>39</c:v>
                </c:pt>
                <c:pt idx="139">
                  <c:v>129</c:v>
                </c:pt>
                <c:pt idx="140">
                  <c:v>150</c:v>
                </c:pt>
                <c:pt idx="141">
                  <c:v>143</c:v>
                </c:pt>
                <c:pt idx="142">
                  <c:v>121</c:v>
                </c:pt>
                <c:pt idx="143">
                  <c:v>170</c:v>
                </c:pt>
                <c:pt idx="144">
                  <c:v>97</c:v>
                </c:pt>
                <c:pt idx="145">
                  <c:v>53</c:v>
                </c:pt>
                <c:pt idx="146">
                  <c:v>166</c:v>
                </c:pt>
                <c:pt idx="147">
                  <c:v>201</c:v>
                </c:pt>
                <c:pt idx="148">
                  <c:v>144</c:v>
                </c:pt>
                <c:pt idx="149">
                  <c:v>166</c:v>
                </c:pt>
                <c:pt idx="150">
                  <c:v>256</c:v>
                </c:pt>
                <c:pt idx="151">
                  <c:v>125</c:v>
                </c:pt>
                <c:pt idx="152">
                  <c:v>91</c:v>
                </c:pt>
                <c:pt idx="153">
                  <c:v>205</c:v>
                </c:pt>
                <c:pt idx="154">
                  <c:v>216</c:v>
                </c:pt>
                <c:pt idx="155">
                  <c:v>184</c:v>
                </c:pt>
                <c:pt idx="156">
                  <c:v>262</c:v>
                </c:pt>
                <c:pt idx="157">
                  <c:v>158</c:v>
                </c:pt>
                <c:pt idx="158">
                  <c:v>118</c:v>
                </c:pt>
                <c:pt idx="159">
                  <c:v>83</c:v>
                </c:pt>
                <c:pt idx="160">
                  <c:v>210</c:v>
                </c:pt>
                <c:pt idx="161">
                  <c:v>191</c:v>
                </c:pt>
                <c:pt idx="162">
                  <c:v>171</c:v>
                </c:pt>
                <c:pt idx="163">
                  <c:v>131</c:v>
                </c:pt>
                <c:pt idx="164">
                  <c:v>161</c:v>
                </c:pt>
                <c:pt idx="165">
                  <c:v>100</c:v>
                </c:pt>
                <c:pt idx="166">
                  <c:v>66</c:v>
                </c:pt>
                <c:pt idx="167">
                  <c:v>199</c:v>
                </c:pt>
                <c:pt idx="168">
                  <c:v>168</c:v>
                </c:pt>
                <c:pt idx="169">
                  <c:v>142</c:v>
                </c:pt>
                <c:pt idx="170">
                  <c:v>116</c:v>
                </c:pt>
                <c:pt idx="171">
                  <c:v>99</c:v>
                </c:pt>
                <c:pt idx="172">
                  <c:v>78</c:v>
                </c:pt>
                <c:pt idx="173">
                  <c:v>61</c:v>
                </c:pt>
                <c:pt idx="174">
                  <c:v>122</c:v>
                </c:pt>
                <c:pt idx="175">
                  <c:v>172</c:v>
                </c:pt>
                <c:pt idx="176">
                  <c:v>97</c:v>
                </c:pt>
                <c:pt idx="177">
                  <c:v>89</c:v>
                </c:pt>
                <c:pt idx="178">
                  <c:v>97</c:v>
                </c:pt>
                <c:pt idx="179">
                  <c:v>64</c:v>
                </c:pt>
                <c:pt idx="180">
                  <c:v>42</c:v>
                </c:pt>
                <c:pt idx="181">
                  <c:v>105</c:v>
                </c:pt>
                <c:pt idx="182">
                  <c:v>94</c:v>
                </c:pt>
                <c:pt idx="183">
                  <c:v>44</c:v>
                </c:pt>
                <c:pt idx="184">
                  <c:v>60</c:v>
                </c:pt>
                <c:pt idx="185">
                  <c:v>13</c:v>
                </c:pt>
                <c:pt idx="186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A3F-4C94-8915-777191685E7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19856463840257E-2"/>
          <c:y val="1.7338673528478215E-2"/>
          <c:w val="0.80334957098880577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20</c:v>
                </c:pt>
              </c:strCache>
            </c:strRef>
          </c:tx>
          <c:spPr>
            <a:ln w="28575" cap="rnd">
              <a:solidFill>
                <a:srgbClr val="00B0F0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O$1:$AE$1</c:f>
              <c:strCache>
                <c:ptCount val="17"/>
                <c:pt idx="0">
                  <c:v>29.08 - 04.09</c:v>
                </c:pt>
                <c:pt idx="1">
                  <c:v>05.09 - 11.09</c:v>
                </c:pt>
                <c:pt idx="2">
                  <c:v>12.09 - 18.09</c:v>
                </c:pt>
                <c:pt idx="3">
                  <c:v>19.09 - 25.09</c:v>
                </c:pt>
                <c:pt idx="4">
                  <c:v>26.09 - 02.10</c:v>
                </c:pt>
                <c:pt idx="5">
                  <c:v>03.10 - 09.10</c:v>
                </c:pt>
                <c:pt idx="6">
                  <c:v>10.10 - 16.10</c:v>
                </c:pt>
                <c:pt idx="7">
                  <c:v>17.10 - 23.10</c:v>
                </c:pt>
                <c:pt idx="8">
                  <c:v>24.10 - 30.10</c:v>
                </c:pt>
                <c:pt idx="9">
                  <c:v>31.10 - 06.11</c:v>
                </c:pt>
                <c:pt idx="10">
                  <c:v>07.11 - 13.11</c:v>
                </c:pt>
                <c:pt idx="11">
                  <c:v>14.11 - 20.11</c:v>
                </c:pt>
                <c:pt idx="12">
                  <c:v>21.11 - 27.11</c:v>
                </c:pt>
                <c:pt idx="13">
                  <c:v>28.11 - 04.12</c:v>
                </c:pt>
                <c:pt idx="14">
                  <c:v>05.12 - 11.12</c:v>
                </c:pt>
                <c:pt idx="15">
                  <c:v>12.12 - 18.12</c:v>
                </c:pt>
                <c:pt idx="16">
                  <c:v>19.12 - 25.12</c:v>
                </c:pt>
              </c:strCache>
            </c:strRef>
          </c:cat>
          <c:val>
            <c:numRef>
              <c:f>List1!$O$2:$AE$2</c:f>
              <c:numCache>
                <c:formatCode>General</c:formatCode>
                <c:ptCount val="17"/>
                <c:pt idx="0">
                  <c:v>9.6535966999999996</c:v>
                </c:pt>
                <c:pt idx="1">
                  <c:v>22.0128767</c:v>
                </c:pt>
                <c:pt idx="2">
                  <c:v>40.434186099999998</c:v>
                </c:pt>
                <c:pt idx="3">
                  <c:v>50.632262300000001</c:v>
                </c:pt>
                <c:pt idx="4">
                  <c:v>60.638350600000003</c:v>
                </c:pt>
                <c:pt idx="5">
                  <c:v>136.26154539999999</c:v>
                </c:pt>
                <c:pt idx="6">
                  <c:v>234.3265226</c:v>
                </c:pt>
                <c:pt idx="7">
                  <c:v>389.45337940000002</c:v>
                </c:pt>
                <c:pt idx="8">
                  <c:v>376.64723509999999</c:v>
                </c:pt>
                <c:pt idx="9">
                  <c:v>319.21307309999997</c:v>
                </c:pt>
                <c:pt idx="10">
                  <c:v>203.53371179999999</c:v>
                </c:pt>
                <c:pt idx="11">
                  <c:v>141.97167490000001</c:v>
                </c:pt>
                <c:pt idx="12">
                  <c:v>113.03456250000001</c:v>
                </c:pt>
                <c:pt idx="13">
                  <c:v>111.181033</c:v>
                </c:pt>
                <c:pt idx="14">
                  <c:v>137.17997819999999</c:v>
                </c:pt>
                <c:pt idx="15">
                  <c:v>146.3098693</c:v>
                </c:pt>
                <c:pt idx="16">
                  <c:v>153.07007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8F6-4753-91BA-05F66EF54DB5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2021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O$1:$AE$1</c:f>
              <c:strCache>
                <c:ptCount val="17"/>
                <c:pt idx="0">
                  <c:v>29.08 - 04.09</c:v>
                </c:pt>
                <c:pt idx="1">
                  <c:v>05.09 - 11.09</c:v>
                </c:pt>
                <c:pt idx="2">
                  <c:v>12.09 - 18.09</c:v>
                </c:pt>
                <c:pt idx="3">
                  <c:v>19.09 - 25.09</c:v>
                </c:pt>
                <c:pt idx="4">
                  <c:v>26.09 - 02.10</c:v>
                </c:pt>
                <c:pt idx="5">
                  <c:v>03.10 - 09.10</c:v>
                </c:pt>
                <c:pt idx="6">
                  <c:v>10.10 - 16.10</c:v>
                </c:pt>
                <c:pt idx="7">
                  <c:v>17.10 - 23.10</c:v>
                </c:pt>
                <c:pt idx="8">
                  <c:v>24.10 - 30.10</c:v>
                </c:pt>
                <c:pt idx="9">
                  <c:v>31.10 - 06.11</c:v>
                </c:pt>
                <c:pt idx="10">
                  <c:v>07.11 - 13.11</c:v>
                </c:pt>
                <c:pt idx="11">
                  <c:v>14.11 - 20.11</c:v>
                </c:pt>
                <c:pt idx="12">
                  <c:v>21.11 - 27.11</c:v>
                </c:pt>
                <c:pt idx="13">
                  <c:v>28.11 - 04.12</c:v>
                </c:pt>
                <c:pt idx="14">
                  <c:v>05.12 - 11.12</c:v>
                </c:pt>
                <c:pt idx="15">
                  <c:v>12.12 - 18.12</c:v>
                </c:pt>
                <c:pt idx="16">
                  <c:v>19.12 - 25.12</c:v>
                </c:pt>
              </c:strCache>
            </c:strRef>
          </c:cat>
          <c:val>
            <c:numRef>
              <c:f>List1!$O$3:$AE$3</c:f>
              <c:numCache>
                <c:formatCode>General</c:formatCode>
                <c:ptCount val="17"/>
                <c:pt idx="0">
                  <c:v>3.0694477</c:v>
                </c:pt>
                <c:pt idx="1">
                  <c:v>2.4565082</c:v>
                </c:pt>
                <c:pt idx="2">
                  <c:v>3.9931808000000002</c:v>
                </c:pt>
                <c:pt idx="3">
                  <c:v>6.6063390000000002</c:v>
                </c:pt>
                <c:pt idx="4">
                  <c:v>7.2236010999999998</c:v>
                </c:pt>
                <c:pt idx="5">
                  <c:v>10.9193979</c:v>
                </c:pt>
                <c:pt idx="6">
                  <c:v>17.2369214</c:v>
                </c:pt>
                <c:pt idx="7">
                  <c:v>42.198186700000001</c:v>
                </c:pt>
                <c:pt idx="8">
                  <c:v>63.0329482</c:v>
                </c:pt>
                <c:pt idx="9">
                  <c:v>105.7879583</c:v>
                </c:pt>
                <c:pt idx="10">
                  <c:v>124.35719210000001</c:v>
                </c:pt>
                <c:pt idx="11">
                  <c:v>162.39605180000001</c:v>
                </c:pt>
                <c:pt idx="12">
                  <c:v>178.07857379999999</c:v>
                </c:pt>
                <c:pt idx="13">
                  <c:v>151.90264629999999</c:v>
                </c:pt>
                <c:pt idx="14">
                  <c:v>124.44617580000001</c:v>
                </c:pt>
                <c:pt idx="15">
                  <c:v>102.0674851</c:v>
                </c:pt>
                <c:pt idx="16">
                  <c:v>91.5002245999999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8F6-4753-91BA-05F66EF54DB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5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5809610965008587"/>
          <c:y val="0.27545860500728103"/>
          <c:w val="0.14190389034991419"/>
          <c:h val="0.4944791082477983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6097904626E-2"/>
          <c:y val="0.11530977652557951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35:$A$321</c:f>
              <c:numCache>
                <c:formatCode>m/d/yyyy</c:formatCode>
                <c:ptCount val="187"/>
                <c:pt idx="0">
                  <c:v>44364</c:v>
                </c:pt>
                <c:pt idx="1">
                  <c:v>44365</c:v>
                </c:pt>
                <c:pt idx="2">
                  <c:v>44366</c:v>
                </c:pt>
                <c:pt idx="3">
                  <c:v>44367</c:v>
                </c:pt>
                <c:pt idx="4">
                  <c:v>44369</c:v>
                </c:pt>
                <c:pt idx="5">
                  <c:v>44370</c:v>
                </c:pt>
                <c:pt idx="6">
                  <c:v>44371</c:v>
                </c:pt>
                <c:pt idx="7">
                  <c:v>44373</c:v>
                </c:pt>
                <c:pt idx="8">
                  <c:v>44374</c:v>
                </c:pt>
                <c:pt idx="9">
                  <c:v>44375</c:v>
                </c:pt>
                <c:pt idx="10">
                  <c:v>44376</c:v>
                </c:pt>
                <c:pt idx="11">
                  <c:v>44378</c:v>
                </c:pt>
                <c:pt idx="12">
                  <c:v>44379</c:v>
                </c:pt>
                <c:pt idx="13">
                  <c:v>44381</c:v>
                </c:pt>
                <c:pt idx="14">
                  <c:v>44382</c:v>
                </c:pt>
                <c:pt idx="15">
                  <c:v>44383</c:v>
                </c:pt>
                <c:pt idx="16">
                  <c:v>44384</c:v>
                </c:pt>
                <c:pt idx="17">
                  <c:v>44385</c:v>
                </c:pt>
                <c:pt idx="18">
                  <c:v>44386</c:v>
                </c:pt>
                <c:pt idx="19">
                  <c:v>44387</c:v>
                </c:pt>
                <c:pt idx="20">
                  <c:v>44389</c:v>
                </c:pt>
                <c:pt idx="21">
                  <c:v>44390</c:v>
                </c:pt>
                <c:pt idx="22">
                  <c:v>44391</c:v>
                </c:pt>
                <c:pt idx="23">
                  <c:v>44392</c:v>
                </c:pt>
                <c:pt idx="24">
                  <c:v>44393</c:v>
                </c:pt>
                <c:pt idx="25">
                  <c:v>44394</c:v>
                </c:pt>
                <c:pt idx="26">
                  <c:v>44395</c:v>
                </c:pt>
                <c:pt idx="27">
                  <c:v>44396</c:v>
                </c:pt>
                <c:pt idx="28">
                  <c:v>44397</c:v>
                </c:pt>
                <c:pt idx="29">
                  <c:v>44398</c:v>
                </c:pt>
                <c:pt idx="30">
                  <c:v>44399</c:v>
                </c:pt>
                <c:pt idx="31">
                  <c:v>44400</c:v>
                </c:pt>
                <c:pt idx="32">
                  <c:v>44401</c:v>
                </c:pt>
                <c:pt idx="33">
                  <c:v>44402</c:v>
                </c:pt>
                <c:pt idx="34">
                  <c:v>44403</c:v>
                </c:pt>
                <c:pt idx="35">
                  <c:v>44404</c:v>
                </c:pt>
                <c:pt idx="36">
                  <c:v>44405</c:v>
                </c:pt>
                <c:pt idx="37">
                  <c:v>44406</c:v>
                </c:pt>
                <c:pt idx="38">
                  <c:v>44407</c:v>
                </c:pt>
                <c:pt idx="39">
                  <c:v>44408</c:v>
                </c:pt>
                <c:pt idx="40">
                  <c:v>44409</c:v>
                </c:pt>
                <c:pt idx="41">
                  <c:v>44410</c:v>
                </c:pt>
                <c:pt idx="42">
                  <c:v>44411</c:v>
                </c:pt>
                <c:pt idx="43">
                  <c:v>44412</c:v>
                </c:pt>
                <c:pt idx="44">
                  <c:v>44413</c:v>
                </c:pt>
                <c:pt idx="45">
                  <c:v>44414</c:v>
                </c:pt>
                <c:pt idx="46">
                  <c:v>44415</c:v>
                </c:pt>
                <c:pt idx="47">
                  <c:v>44416</c:v>
                </c:pt>
                <c:pt idx="48">
                  <c:v>44417</c:v>
                </c:pt>
                <c:pt idx="49">
                  <c:v>44418</c:v>
                </c:pt>
                <c:pt idx="50">
                  <c:v>44419</c:v>
                </c:pt>
                <c:pt idx="51">
                  <c:v>44420</c:v>
                </c:pt>
                <c:pt idx="52">
                  <c:v>44421</c:v>
                </c:pt>
                <c:pt idx="53">
                  <c:v>44422</c:v>
                </c:pt>
                <c:pt idx="54">
                  <c:v>44423</c:v>
                </c:pt>
                <c:pt idx="55">
                  <c:v>44424</c:v>
                </c:pt>
                <c:pt idx="56">
                  <c:v>44425</c:v>
                </c:pt>
                <c:pt idx="57">
                  <c:v>44426</c:v>
                </c:pt>
                <c:pt idx="58">
                  <c:v>44427</c:v>
                </c:pt>
                <c:pt idx="59">
                  <c:v>44428</c:v>
                </c:pt>
                <c:pt idx="60">
                  <c:v>44429</c:v>
                </c:pt>
                <c:pt idx="61">
                  <c:v>44430</c:v>
                </c:pt>
                <c:pt idx="62">
                  <c:v>44431</c:v>
                </c:pt>
                <c:pt idx="63">
                  <c:v>44432</c:v>
                </c:pt>
                <c:pt idx="64">
                  <c:v>44433</c:v>
                </c:pt>
                <c:pt idx="65">
                  <c:v>44434</c:v>
                </c:pt>
                <c:pt idx="66">
                  <c:v>44435</c:v>
                </c:pt>
                <c:pt idx="67">
                  <c:v>44436</c:v>
                </c:pt>
                <c:pt idx="68">
                  <c:v>44437</c:v>
                </c:pt>
                <c:pt idx="69">
                  <c:v>44438</c:v>
                </c:pt>
                <c:pt idx="70">
                  <c:v>44439</c:v>
                </c:pt>
                <c:pt idx="71">
                  <c:v>44440</c:v>
                </c:pt>
                <c:pt idx="72">
                  <c:v>44441</c:v>
                </c:pt>
                <c:pt idx="73">
                  <c:v>44442</c:v>
                </c:pt>
                <c:pt idx="74">
                  <c:v>44443</c:v>
                </c:pt>
                <c:pt idx="75">
                  <c:v>44444</c:v>
                </c:pt>
                <c:pt idx="76">
                  <c:v>44445</c:v>
                </c:pt>
                <c:pt idx="77">
                  <c:v>44446</c:v>
                </c:pt>
                <c:pt idx="78">
                  <c:v>44447</c:v>
                </c:pt>
                <c:pt idx="79">
                  <c:v>44448</c:v>
                </c:pt>
                <c:pt idx="80">
                  <c:v>44449</c:v>
                </c:pt>
                <c:pt idx="81">
                  <c:v>44450</c:v>
                </c:pt>
                <c:pt idx="82">
                  <c:v>44451</c:v>
                </c:pt>
                <c:pt idx="83">
                  <c:v>44452</c:v>
                </c:pt>
                <c:pt idx="84">
                  <c:v>44453</c:v>
                </c:pt>
                <c:pt idx="85">
                  <c:v>44454</c:v>
                </c:pt>
                <c:pt idx="86">
                  <c:v>44455</c:v>
                </c:pt>
                <c:pt idx="87">
                  <c:v>44456</c:v>
                </c:pt>
                <c:pt idx="88">
                  <c:v>44457</c:v>
                </c:pt>
                <c:pt idx="89">
                  <c:v>44458</c:v>
                </c:pt>
                <c:pt idx="90">
                  <c:v>44459</c:v>
                </c:pt>
                <c:pt idx="91">
                  <c:v>44460</c:v>
                </c:pt>
                <c:pt idx="92">
                  <c:v>44461</c:v>
                </c:pt>
                <c:pt idx="93">
                  <c:v>44462</c:v>
                </c:pt>
                <c:pt idx="94">
                  <c:v>44463</c:v>
                </c:pt>
                <c:pt idx="95">
                  <c:v>44464</c:v>
                </c:pt>
                <c:pt idx="96">
                  <c:v>44465</c:v>
                </c:pt>
                <c:pt idx="97">
                  <c:v>44466</c:v>
                </c:pt>
                <c:pt idx="98">
                  <c:v>44467</c:v>
                </c:pt>
                <c:pt idx="99">
                  <c:v>44468</c:v>
                </c:pt>
                <c:pt idx="100">
                  <c:v>44469</c:v>
                </c:pt>
                <c:pt idx="101">
                  <c:v>44470</c:v>
                </c:pt>
                <c:pt idx="102">
                  <c:v>44471</c:v>
                </c:pt>
                <c:pt idx="103">
                  <c:v>44472</c:v>
                </c:pt>
                <c:pt idx="104">
                  <c:v>44473</c:v>
                </c:pt>
                <c:pt idx="105">
                  <c:v>44474</c:v>
                </c:pt>
                <c:pt idx="106">
                  <c:v>44475</c:v>
                </c:pt>
                <c:pt idx="107">
                  <c:v>44476</c:v>
                </c:pt>
                <c:pt idx="108">
                  <c:v>44477</c:v>
                </c:pt>
                <c:pt idx="109">
                  <c:v>44478</c:v>
                </c:pt>
                <c:pt idx="110">
                  <c:v>44479</c:v>
                </c:pt>
                <c:pt idx="111">
                  <c:v>44480</c:v>
                </c:pt>
                <c:pt idx="112">
                  <c:v>44481</c:v>
                </c:pt>
                <c:pt idx="113">
                  <c:v>44482</c:v>
                </c:pt>
                <c:pt idx="114">
                  <c:v>44483</c:v>
                </c:pt>
                <c:pt idx="115">
                  <c:v>44484</c:v>
                </c:pt>
                <c:pt idx="116">
                  <c:v>44485</c:v>
                </c:pt>
                <c:pt idx="117">
                  <c:v>44486</c:v>
                </c:pt>
                <c:pt idx="118">
                  <c:v>44487</c:v>
                </c:pt>
                <c:pt idx="119">
                  <c:v>44488</c:v>
                </c:pt>
                <c:pt idx="120">
                  <c:v>44489</c:v>
                </c:pt>
                <c:pt idx="121">
                  <c:v>44490</c:v>
                </c:pt>
                <c:pt idx="122">
                  <c:v>44491</c:v>
                </c:pt>
                <c:pt idx="123">
                  <c:v>44492</c:v>
                </c:pt>
                <c:pt idx="124">
                  <c:v>44493</c:v>
                </c:pt>
                <c:pt idx="125">
                  <c:v>44494</c:v>
                </c:pt>
                <c:pt idx="126">
                  <c:v>44495</c:v>
                </c:pt>
                <c:pt idx="127">
                  <c:v>44496</c:v>
                </c:pt>
                <c:pt idx="128">
                  <c:v>44497</c:v>
                </c:pt>
                <c:pt idx="129">
                  <c:v>44498</c:v>
                </c:pt>
                <c:pt idx="130">
                  <c:v>44499</c:v>
                </c:pt>
                <c:pt idx="131">
                  <c:v>44500</c:v>
                </c:pt>
                <c:pt idx="132">
                  <c:v>44501</c:v>
                </c:pt>
                <c:pt idx="133">
                  <c:v>44502</c:v>
                </c:pt>
                <c:pt idx="134">
                  <c:v>44503</c:v>
                </c:pt>
                <c:pt idx="135">
                  <c:v>44504</c:v>
                </c:pt>
                <c:pt idx="136">
                  <c:v>44505</c:v>
                </c:pt>
                <c:pt idx="137">
                  <c:v>44506</c:v>
                </c:pt>
                <c:pt idx="138">
                  <c:v>44507</c:v>
                </c:pt>
                <c:pt idx="139">
                  <c:v>44508</c:v>
                </c:pt>
                <c:pt idx="140">
                  <c:v>44509</c:v>
                </c:pt>
                <c:pt idx="141">
                  <c:v>44510</c:v>
                </c:pt>
                <c:pt idx="142">
                  <c:v>44511</c:v>
                </c:pt>
                <c:pt idx="143">
                  <c:v>44512</c:v>
                </c:pt>
                <c:pt idx="144">
                  <c:v>44513</c:v>
                </c:pt>
                <c:pt idx="145">
                  <c:v>44514</c:v>
                </c:pt>
                <c:pt idx="146">
                  <c:v>44515</c:v>
                </c:pt>
                <c:pt idx="147">
                  <c:v>44516</c:v>
                </c:pt>
                <c:pt idx="148">
                  <c:v>44517</c:v>
                </c:pt>
                <c:pt idx="149">
                  <c:v>44518</c:v>
                </c:pt>
                <c:pt idx="150">
                  <c:v>44519</c:v>
                </c:pt>
                <c:pt idx="151">
                  <c:v>44520</c:v>
                </c:pt>
                <c:pt idx="152">
                  <c:v>44521</c:v>
                </c:pt>
                <c:pt idx="153">
                  <c:v>44522</c:v>
                </c:pt>
                <c:pt idx="154">
                  <c:v>44523</c:v>
                </c:pt>
                <c:pt idx="155">
                  <c:v>44524</c:v>
                </c:pt>
                <c:pt idx="156">
                  <c:v>44525</c:v>
                </c:pt>
                <c:pt idx="157">
                  <c:v>44526</c:v>
                </c:pt>
                <c:pt idx="158">
                  <c:v>44527</c:v>
                </c:pt>
                <c:pt idx="159">
                  <c:v>44528</c:v>
                </c:pt>
                <c:pt idx="160">
                  <c:v>44529</c:v>
                </c:pt>
                <c:pt idx="161">
                  <c:v>44530</c:v>
                </c:pt>
                <c:pt idx="162">
                  <c:v>44531</c:v>
                </c:pt>
                <c:pt idx="163">
                  <c:v>44532</c:v>
                </c:pt>
                <c:pt idx="164">
                  <c:v>44533</c:v>
                </c:pt>
                <c:pt idx="165">
                  <c:v>44534</c:v>
                </c:pt>
                <c:pt idx="166">
                  <c:v>44535</c:v>
                </c:pt>
                <c:pt idx="167">
                  <c:v>44536</c:v>
                </c:pt>
                <c:pt idx="168">
                  <c:v>44537</c:v>
                </c:pt>
                <c:pt idx="169">
                  <c:v>44538</c:v>
                </c:pt>
                <c:pt idx="170">
                  <c:v>44539</c:v>
                </c:pt>
                <c:pt idx="171">
                  <c:v>44540</c:v>
                </c:pt>
                <c:pt idx="172">
                  <c:v>44541</c:v>
                </c:pt>
                <c:pt idx="173">
                  <c:v>44542</c:v>
                </c:pt>
                <c:pt idx="174">
                  <c:v>44543</c:v>
                </c:pt>
                <c:pt idx="175">
                  <c:v>44544</c:v>
                </c:pt>
                <c:pt idx="176">
                  <c:v>44545</c:v>
                </c:pt>
                <c:pt idx="177">
                  <c:v>44546</c:v>
                </c:pt>
                <c:pt idx="178">
                  <c:v>44547</c:v>
                </c:pt>
                <c:pt idx="179">
                  <c:v>44548</c:v>
                </c:pt>
                <c:pt idx="180">
                  <c:v>44549</c:v>
                </c:pt>
                <c:pt idx="181">
                  <c:v>44550</c:v>
                </c:pt>
                <c:pt idx="182">
                  <c:v>44551</c:v>
                </c:pt>
                <c:pt idx="183">
                  <c:v>44552</c:v>
                </c:pt>
                <c:pt idx="184">
                  <c:v>44553</c:v>
                </c:pt>
                <c:pt idx="185">
                  <c:v>44554</c:v>
                </c:pt>
                <c:pt idx="186">
                  <c:v>44555</c:v>
                </c:pt>
              </c:numCache>
            </c:numRef>
          </c:cat>
          <c:val>
            <c:numRef>
              <c:f>Sheet1!$B$135:$B$321</c:f>
              <c:numCache>
                <c:formatCode>General</c:formatCode>
                <c:ptCount val="187"/>
                <c:pt idx="0">
                  <c:v>4</c:v>
                </c:pt>
                <c:pt idx="1">
                  <c:v>4</c:v>
                </c:pt>
                <c:pt idx="2">
                  <c:v>2</c:v>
                </c:pt>
                <c:pt idx="3">
                  <c:v>1</c:v>
                </c:pt>
                <c:pt idx="4">
                  <c:v>1</c:v>
                </c:pt>
                <c:pt idx="5">
                  <c:v>4</c:v>
                </c:pt>
                <c:pt idx="6">
                  <c:v>3</c:v>
                </c:pt>
                <c:pt idx="7">
                  <c:v>1</c:v>
                </c:pt>
                <c:pt idx="8">
                  <c:v>3</c:v>
                </c:pt>
                <c:pt idx="9">
                  <c:v>1</c:v>
                </c:pt>
                <c:pt idx="10">
                  <c:v>3</c:v>
                </c:pt>
                <c:pt idx="11">
                  <c:v>2</c:v>
                </c:pt>
                <c:pt idx="12">
                  <c:v>4</c:v>
                </c:pt>
                <c:pt idx="13">
                  <c:v>2</c:v>
                </c:pt>
                <c:pt idx="14">
                  <c:v>4</c:v>
                </c:pt>
                <c:pt idx="15">
                  <c:v>1</c:v>
                </c:pt>
                <c:pt idx="16">
                  <c:v>1</c:v>
                </c:pt>
                <c:pt idx="17">
                  <c:v>4</c:v>
                </c:pt>
                <c:pt idx="18">
                  <c:v>7</c:v>
                </c:pt>
                <c:pt idx="19">
                  <c:v>1</c:v>
                </c:pt>
                <c:pt idx="20">
                  <c:v>7</c:v>
                </c:pt>
                <c:pt idx="21">
                  <c:v>4</c:v>
                </c:pt>
                <c:pt idx="22">
                  <c:v>7</c:v>
                </c:pt>
                <c:pt idx="23">
                  <c:v>5</c:v>
                </c:pt>
                <c:pt idx="24">
                  <c:v>8</c:v>
                </c:pt>
                <c:pt idx="25">
                  <c:v>3</c:v>
                </c:pt>
                <c:pt idx="26">
                  <c:v>4</c:v>
                </c:pt>
                <c:pt idx="27">
                  <c:v>11</c:v>
                </c:pt>
                <c:pt idx="28">
                  <c:v>8</c:v>
                </c:pt>
                <c:pt idx="29">
                  <c:v>7</c:v>
                </c:pt>
                <c:pt idx="30">
                  <c:v>7</c:v>
                </c:pt>
                <c:pt idx="31">
                  <c:v>6</c:v>
                </c:pt>
                <c:pt idx="32">
                  <c:v>1</c:v>
                </c:pt>
                <c:pt idx="33">
                  <c:v>4</c:v>
                </c:pt>
                <c:pt idx="34">
                  <c:v>9</c:v>
                </c:pt>
                <c:pt idx="35">
                  <c:v>5</c:v>
                </c:pt>
                <c:pt idx="36">
                  <c:v>2</c:v>
                </c:pt>
                <c:pt idx="37">
                  <c:v>8</c:v>
                </c:pt>
                <c:pt idx="38">
                  <c:v>4</c:v>
                </c:pt>
                <c:pt idx="39">
                  <c:v>2</c:v>
                </c:pt>
                <c:pt idx="40">
                  <c:v>1</c:v>
                </c:pt>
                <c:pt idx="41">
                  <c:v>2</c:v>
                </c:pt>
                <c:pt idx="42">
                  <c:v>6</c:v>
                </c:pt>
                <c:pt idx="43">
                  <c:v>11</c:v>
                </c:pt>
                <c:pt idx="44">
                  <c:v>3</c:v>
                </c:pt>
                <c:pt idx="45">
                  <c:v>6</c:v>
                </c:pt>
                <c:pt idx="46">
                  <c:v>1</c:v>
                </c:pt>
                <c:pt idx="47">
                  <c:v>3</c:v>
                </c:pt>
                <c:pt idx="48">
                  <c:v>12</c:v>
                </c:pt>
                <c:pt idx="49">
                  <c:v>3</c:v>
                </c:pt>
                <c:pt idx="50">
                  <c:v>7</c:v>
                </c:pt>
                <c:pt idx="51">
                  <c:v>4</c:v>
                </c:pt>
                <c:pt idx="52">
                  <c:v>9</c:v>
                </c:pt>
                <c:pt idx="53">
                  <c:v>5</c:v>
                </c:pt>
                <c:pt idx="54">
                  <c:v>2</c:v>
                </c:pt>
                <c:pt idx="55">
                  <c:v>7</c:v>
                </c:pt>
                <c:pt idx="56">
                  <c:v>4</c:v>
                </c:pt>
                <c:pt idx="57">
                  <c:v>3</c:v>
                </c:pt>
                <c:pt idx="58">
                  <c:v>3</c:v>
                </c:pt>
                <c:pt idx="59">
                  <c:v>4</c:v>
                </c:pt>
                <c:pt idx="60">
                  <c:v>2</c:v>
                </c:pt>
                <c:pt idx="61">
                  <c:v>3</c:v>
                </c:pt>
                <c:pt idx="62">
                  <c:v>8</c:v>
                </c:pt>
                <c:pt idx="63">
                  <c:v>5</c:v>
                </c:pt>
                <c:pt idx="64">
                  <c:v>6</c:v>
                </c:pt>
                <c:pt idx="65">
                  <c:v>5</c:v>
                </c:pt>
                <c:pt idx="66">
                  <c:v>4</c:v>
                </c:pt>
                <c:pt idx="67">
                  <c:v>3</c:v>
                </c:pt>
                <c:pt idx="68">
                  <c:v>2</c:v>
                </c:pt>
                <c:pt idx="69">
                  <c:v>1</c:v>
                </c:pt>
                <c:pt idx="70">
                  <c:v>7</c:v>
                </c:pt>
                <c:pt idx="71">
                  <c:v>7</c:v>
                </c:pt>
                <c:pt idx="72">
                  <c:v>12</c:v>
                </c:pt>
                <c:pt idx="73">
                  <c:v>13</c:v>
                </c:pt>
                <c:pt idx="74">
                  <c:v>9</c:v>
                </c:pt>
                <c:pt idx="75">
                  <c:v>3</c:v>
                </c:pt>
                <c:pt idx="76">
                  <c:v>7</c:v>
                </c:pt>
                <c:pt idx="77">
                  <c:v>12</c:v>
                </c:pt>
                <c:pt idx="78">
                  <c:v>2</c:v>
                </c:pt>
                <c:pt idx="79">
                  <c:v>7</c:v>
                </c:pt>
                <c:pt idx="80">
                  <c:v>5</c:v>
                </c:pt>
                <c:pt idx="81">
                  <c:v>4</c:v>
                </c:pt>
                <c:pt idx="82">
                  <c:v>5</c:v>
                </c:pt>
                <c:pt idx="83">
                  <c:v>9</c:v>
                </c:pt>
                <c:pt idx="84">
                  <c:v>10</c:v>
                </c:pt>
                <c:pt idx="85">
                  <c:v>8</c:v>
                </c:pt>
                <c:pt idx="86">
                  <c:v>16</c:v>
                </c:pt>
                <c:pt idx="87">
                  <c:v>12</c:v>
                </c:pt>
                <c:pt idx="88">
                  <c:v>5</c:v>
                </c:pt>
                <c:pt idx="89">
                  <c:v>9</c:v>
                </c:pt>
                <c:pt idx="90">
                  <c:v>18</c:v>
                </c:pt>
                <c:pt idx="91">
                  <c:v>19</c:v>
                </c:pt>
                <c:pt idx="92">
                  <c:v>17</c:v>
                </c:pt>
                <c:pt idx="93">
                  <c:v>14</c:v>
                </c:pt>
                <c:pt idx="94">
                  <c:v>15</c:v>
                </c:pt>
                <c:pt idx="95">
                  <c:v>10</c:v>
                </c:pt>
                <c:pt idx="96">
                  <c:v>10</c:v>
                </c:pt>
                <c:pt idx="97">
                  <c:v>18</c:v>
                </c:pt>
                <c:pt idx="98">
                  <c:v>19</c:v>
                </c:pt>
                <c:pt idx="99">
                  <c:v>24</c:v>
                </c:pt>
                <c:pt idx="100">
                  <c:v>37</c:v>
                </c:pt>
                <c:pt idx="101">
                  <c:v>21</c:v>
                </c:pt>
                <c:pt idx="102">
                  <c:v>14</c:v>
                </c:pt>
                <c:pt idx="103">
                  <c:v>16</c:v>
                </c:pt>
                <c:pt idx="104">
                  <c:v>20</c:v>
                </c:pt>
                <c:pt idx="105">
                  <c:v>28</c:v>
                </c:pt>
                <c:pt idx="106">
                  <c:v>27</c:v>
                </c:pt>
                <c:pt idx="107">
                  <c:v>30</c:v>
                </c:pt>
                <c:pt idx="108">
                  <c:v>25</c:v>
                </c:pt>
                <c:pt idx="109">
                  <c:v>14</c:v>
                </c:pt>
                <c:pt idx="110">
                  <c:v>10</c:v>
                </c:pt>
                <c:pt idx="111">
                  <c:v>40</c:v>
                </c:pt>
                <c:pt idx="112">
                  <c:v>60</c:v>
                </c:pt>
                <c:pt idx="113">
                  <c:v>47</c:v>
                </c:pt>
                <c:pt idx="114">
                  <c:v>47</c:v>
                </c:pt>
                <c:pt idx="115">
                  <c:v>37</c:v>
                </c:pt>
                <c:pt idx="116">
                  <c:v>24</c:v>
                </c:pt>
                <c:pt idx="117">
                  <c:v>31</c:v>
                </c:pt>
                <c:pt idx="118">
                  <c:v>91</c:v>
                </c:pt>
                <c:pt idx="119">
                  <c:v>101</c:v>
                </c:pt>
                <c:pt idx="120">
                  <c:v>89</c:v>
                </c:pt>
                <c:pt idx="121">
                  <c:v>120</c:v>
                </c:pt>
                <c:pt idx="122">
                  <c:v>106</c:v>
                </c:pt>
                <c:pt idx="123">
                  <c:v>77</c:v>
                </c:pt>
                <c:pt idx="124">
                  <c:v>45</c:v>
                </c:pt>
                <c:pt idx="125">
                  <c:v>175</c:v>
                </c:pt>
                <c:pt idx="126">
                  <c:v>175</c:v>
                </c:pt>
                <c:pt idx="127">
                  <c:v>165</c:v>
                </c:pt>
                <c:pt idx="128">
                  <c:v>98</c:v>
                </c:pt>
                <c:pt idx="129">
                  <c:v>203</c:v>
                </c:pt>
                <c:pt idx="130">
                  <c:v>140</c:v>
                </c:pt>
                <c:pt idx="131">
                  <c:v>97</c:v>
                </c:pt>
                <c:pt idx="132">
                  <c:v>304</c:v>
                </c:pt>
                <c:pt idx="133">
                  <c:v>271</c:v>
                </c:pt>
                <c:pt idx="134">
                  <c:v>263</c:v>
                </c:pt>
                <c:pt idx="135">
                  <c:v>244</c:v>
                </c:pt>
                <c:pt idx="136">
                  <c:v>286</c:v>
                </c:pt>
                <c:pt idx="137">
                  <c:v>159</c:v>
                </c:pt>
                <c:pt idx="138">
                  <c:v>86</c:v>
                </c:pt>
                <c:pt idx="139">
                  <c:v>316</c:v>
                </c:pt>
                <c:pt idx="140">
                  <c:v>343</c:v>
                </c:pt>
                <c:pt idx="141">
                  <c:v>359</c:v>
                </c:pt>
                <c:pt idx="142">
                  <c:v>267</c:v>
                </c:pt>
                <c:pt idx="143">
                  <c:v>376</c:v>
                </c:pt>
                <c:pt idx="144">
                  <c:v>244</c:v>
                </c:pt>
                <c:pt idx="145">
                  <c:v>130</c:v>
                </c:pt>
                <c:pt idx="146">
                  <c:v>390</c:v>
                </c:pt>
                <c:pt idx="147">
                  <c:v>492</c:v>
                </c:pt>
                <c:pt idx="148">
                  <c:v>309</c:v>
                </c:pt>
                <c:pt idx="149">
                  <c:v>390</c:v>
                </c:pt>
                <c:pt idx="150">
                  <c:v>576</c:v>
                </c:pt>
                <c:pt idx="151">
                  <c:v>329</c:v>
                </c:pt>
                <c:pt idx="152">
                  <c:v>206</c:v>
                </c:pt>
                <c:pt idx="153">
                  <c:v>460</c:v>
                </c:pt>
                <c:pt idx="154">
                  <c:v>548</c:v>
                </c:pt>
                <c:pt idx="155">
                  <c:v>369</c:v>
                </c:pt>
                <c:pt idx="156">
                  <c:v>546</c:v>
                </c:pt>
                <c:pt idx="157">
                  <c:v>403</c:v>
                </c:pt>
                <c:pt idx="158">
                  <c:v>259</c:v>
                </c:pt>
                <c:pt idx="159">
                  <c:v>203</c:v>
                </c:pt>
                <c:pt idx="160">
                  <c:v>474</c:v>
                </c:pt>
                <c:pt idx="161">
                  <c:v>406</c:v>
                </c:pt>
                <c:pt idx="162">
                  <c:v>402</c:v>
                </c:pt>
                <c:pt idx="163">
                  <c:v>320</c:v>
                </c:pt>
                <c:pt idx="164">
                  <c:v>359</c:v>
                </c:pt>
                <c:pt idx="165">
                  <c:v>213</c:v>
                </c:pt>
                <c:pt idx="166">
                  <c:v>148</c:v>
                </c:pt>
                <c:pt idx="167">
                  <c:v>413</c:v>
                </c:pt>
                <c:pt idx="168">
                  <c:v>366</c:v>
                </c:pt>
                <c:pt idx="169">
                  <c:v>292</c:v>
                </c:pt>
                <c:pt idx="170">
                  <c:v>276</c:v>
                </c:pt>
                <c:pt idx="171">
                  <c:v>245</c:v>
                </c:pt>
                <c:pt idx="172">
                  <c:v>173</c:v>
                </c:pt>
                <c:pt idx="173">
                  <c:v>132</c:v>
                </c:pt>
                <c:pt idx="174">
                  <c:v>255</c:v>
                </c:pt>
                <c:pt idx="175">
                  <c:v>321</c:v>
                </c:pt>
                <c:pt idx="176">
                  <c:v>208</c:v>
                </c:pt>
                <c:pt idx="177">
                  <c:v>170</c:v>
                </c:pt>
                <c:pt idx="178">
                  <c:v>203</c:v>
                </c:pt>
                <c:pt idx="179">
                  <c:v>133</c:v>
                </c:pt>
                <c:pt idx="180">
                  <c:v>89</c:v>
                </c:pt>
                <c:pt idx="181">
                  <c:v>223</c:v>
                </c:pt>
                <c:pt idx="182">
                  <c:v>207</c:v>
                </c:pt>
                <c:pt idx="183">
                  <c:v>115</c:v>
                </c:pt>
                <c:pt idx="184">
                  <c:v>139</c:v>
                </c:pt>
                <c:pt idx="185">
                  <c:v>36</c:v>
                </c:pt>
                <c:pt idx="186">
                  <c:v>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59F-460A-A36A-554DEDA2A40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527928087982371"/>
          <c:y val="2.4852292975710399E-2"/>
          <c:w val="0.87466795309236889"/>
          <c:h val="0.90552881115878769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Bez očkování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trendline>
            <c:spPr>
              <a:ln w="31750" cap="rnd" cmpd="sng">
                <a:solidFill>
                  <a:srgbClr val="C00000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A$2:$A$326</c:f>
              <c:numCache>
                <c:formatCode>m/d/yyyy</c:formatCode>
                <c:ptCount val="325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  <c:pt idx="168">
                  <c:v>44396</c:v>
                </c:pt>
                <c:pt idx="169">
                  <c:v>44397</c:v>
                </c:pt>
                <c:pt idx="170">
                  <c:v>44398</c:v>
                </c:pt>
                <c:pt idx="171">
                  <c:v>44399</c:v>
                </c:pt>
                <c:pt idx="172">
                  <c:v>44400</c:v>
                </c:pt>
                <c:pt idx="173">
                  <c:v>44401</c:v>
                </c:pt>
                <c:pt idx="174">
                  <c:v>44402</c:v>
                </c:pt>
                <c:pt idx="175">
                  <c:v>44403</c:v>
                </c:pt>
                <c:pt idx="176">
                  <c:v>44404</c:v>
                </c:pt>
                <c:pt idx="177">
                  <c:v>44405</c:v>
                </c:pt>
                <c:pt idx="178">
                  <c:v>44406</c:v>
                </c:pt>
                <c:pt idx="179">
                  <c:v>44407</c:v>
                </c:pt>
                <c:pt idx="180">
                  <c:v>44408</c:v>
                </c:pt>
                <c:pt idx="181">
                  <c:v>44409</c:v>
                </c:pt>
                <c:pt idx="182">
                  <c:v>44410</c:v>
                </c:pt>
                <c:pt idx="183">
                  <c:v>44411</c:v>
                </c:pt>
                <c:pt idx="184">
                  <c:v>44412</c:v>
                </c:pt>
                <c:pt idx="185">
                  <c:v>44413</c:v>
                </c:pt>
                <c:pt idx="186">
                  <c:v>44414</c:v>
                </c:pt>
                <c:pt idx="187">
                  <c:v>44415</c:v>
                </c:pt>
                <c:pt idx="188">
                  <c:v>44416</c:v>
                </c:pt>
                <c:pt idx="189">
                  <c:v>44417</c:v>
                </c:pt>
                <c:pt idx="190">
                  <c:v>44418</c:v>
                </c:pt>
                <c:pt idx="191">
                  <c:v>44419</c:v>
                </c:pt>
                <c:pt idx="192">
                  <c:v>44420</c:v>
                </c:pt>
                <c:pt idx="193">
                  <c:v>44421</c:v>
                </c:pt>
                <c:pt idx="194">
                  <c:v>44422</c:v>
                </c:pt>
                <c:pt idx="195">
                  <c:v>44423</c:v>
                </c:pt>
                <c:pt idx="196">
                  <c:v>44424</c:v>
                </c:pt>
                <c:pt idx="197">
                  <c:v>44425</c:v>
                </c:pt>
                <c:pt idx="198">
                  <c:v>44426</c:v>
                </c:pt>
                <c:pt idx="199">
                  <c:v>44427</c:v>
                </c:pt>
                <c:pt idx="200">
                  <c:v>44428</c:v>
                </c:pt>
                <c:pt idx="201">
                  <c:v>44429</c:v>
                </c:pt>
                <c:pt idx="202">
                  <c:v>44430</c:v>
                </c:pt>
                <c:pt idx="203">
                  <c:v>44431</c:v>
                </c:pt>
                <c:pt idx="204">
                  <c:v>44432</c:v>
                </c:pt>
                <c:pt idx="205">
                  <c:v>44433</c:v>
                </c:pt>
                <c:pt idx="206">
                  <c:v>44434</c:v>
                </c:pt>
                <c:pt idx="207">
                  <c:v>44435</c:v>
                </c:pt>
                <c:pt idx="208">
                  <c:v>44436</c:v>
                </c:pt>
                <c:pt idx="209">
                  <c:v>44437</c:v>
                </c:pt>
                <c:pt idx="210">
                  <c:v>44438</c:v>
                </c:pt>
                <c:pt idx="211">
                  <c:v>44439</c:v>
                </c:pt>
                <c:pt idx="212">
                  <c:v>44440</c:v>
                </c:pt>
                <c:pt idx="213">
                  <c:v>44441</c:v>
                </c:pt>
                <c:pt idx="214">
                  <c:v>44442</c:v>
                </c:pt>
                <c:pt idx="215">
                  <c:v>44443</c:v>
                </c:pt>
                <c:pt idx="216">
                  <c:v>44444</c:v>
                </c:pt>
                <c:pt idx="217">
                  <c:v>44445</c:v>
                </c:pt>
                <c:pt idx="218">
                  <c:v>44446</c:v>
                </c:pt>
                <c:pt idx="219">
                  <c:v>44447</c:v>
                </c:pt>
                <c:pt idx="220">
                  <c:v>44448</c:v>
                </c:pt>
                <c:pt idx="221">
                  <c:v>44449</c:v>
                </c:pt>
                <c:pt idx="222">
                  <c:v>44450</c:v>
                </c:pt>
                <c:pt idx="223">
                  <c:v>44451</c:v>
                </c:pt>
                <c:pt idx="224">
                  <c:v>44452</c:v>
                </c:pt>
                <c:pt idx="225">
                  <c:v>44453</c:v>
                </c:pt>
                <c:pt idx="226">
                  <c:v>44454</c:v>
                </c:pt>
                <c:pt idx="227">
                  <c:v>44455</c:v>
                </c:pt>
                <c:pt idx="228">
                  <c:v>44456</c:v>
                </c:pt>
                <c:pt idx="229">
                  <c:v>44457</c:v>
                </c:pt>
                <c:pt idx="230">
                  <c:v>44458</c:v>
                </c:pt>
                <c:pt idx="231">
                  <c:v>44459</c:v>
                </c:pt>
                <c:pt idx="232">
                  <c:v>44460</c:v>
                </c:pt>
                <c:pt idx="233">
                  <c:v>44461</c:v>
                </c:pt>
                <c:pt idx="234">
                  <c:v>44462</c:v>
                </c:pt>
                <c:pt idx="235">
                  <c:v>44463</c:v>
                </c:pt>
                <c:pt idx="236">
                  <c:v>44464</c:v>
                </c:pt>
                <c:pt idx="237">
                  <c:v>44465</c:v>
                </c:pt>
                <c:pt idx="238">
                  <c:v>44466</c:v>
                </c:pt>
                <c:pt idx="239">
                  <c:v>44467</c:v>
                </c:pt>
                <c:pt idx="240">
                  <c:v>44468</c:v>
                </c:pt>
                <c:pt idx="241">
                  <c:v>44469</c:v>
                </c:pt>
                <c:pt idx="242">
                  <c:v>44470</c:v>
                </c:pt>
                <c:pt idx="243">
                  <c:v>44471</c:v>
                </c:pt>
                <c:pt idx="244">
                  <c:v>44472</c:v>
                </c:pt>
                <c:pt idx="245">
                  <c:v>44473</c:v>
                </c:pt>
                <c:pt idx="246">
                  <c:v>44474</c:v>
                </c:pt>
                <c:pt idx="247">
                  <c:v>44475</c:v>
                </c:pt>
                <c:pt idx="248">
                  <c:v>44476</c:v>
                </c:pt>
                <c:pt idx="249">
                  <c:v>44477</c:v>
                </c:pt>
                <c:pt idx="250">
                  <c:v>44478</c:v>
                </c:pt>
                <c:pt idx="251">
                  <c:v>44479</c:v>
                </c:pt>
                <c:pt idx="252">
                  <c:v>44480</c:v>
                </c:pt>
                <c:pt idx="253">
                  <c:v>44481</c:v>
                </c:pt>
                <c:pt idx="254">
                  <c:v>44482</c:v>
                </c:pt>
                <c:pt idx="255">
                  <c:v>44483</c:v>
                </c:pt>
                <c:pt idx="256">
                  <c:v>44484</c:v>
                </c:pt>
                <c:pt idx="257">
                  <c:v>44485</c:v>
                </c:pt>
                <c:pt idx="258">
                  <c:v>44486</c:v>
                </c:pt>
                <c:pt idx="259">
                  <c:v>44487</c:v>
                </c:pt>
                <c:pt idx="260">
                  <c:v>44488</c:v>
                </c:pt>
                <c:pt idx="261">
                  <c:v>44489</c:v>
                </c:pt>
                <c:pt idx="262">
                  <c:v>44490</c:v>
                </c:pt>
                <c:pt idx="263">
                  <c:v>44491</c:v>
                </c:pt>
                <c:pt idx="264">
                  <c:v>44492</c:v>
                </c:pt>
                <c:pt idx="265">
                  <c:v>44493</c:v>
                </c:pt>
                <c:pt idx="266">
                  <c:v>44494</c:v>
                </c:pt>
                <c:pt idx="267">
                  <c:v>44495</c:v>
                </c:pt>
                <c:pt idx="268">
                  <c:v>44496</c:v>
                </c:pt>
                <c:pt idx="269">
                  <c:v>44497</c:v>
                </c:pt>
                <c:pt idx="270">
                  <c:v>44498</c:v>
                </c:pt>
                <c:pt idx="271">
                  <c:v>44499</c:v>
                </c:pt>
                <c:pt idx="272">
                  <c:v>44500</c:v>
                </c:pt>
                <c:pt idx="273">
                  <c:v>44501</c:v>
                </c:pt>
                <c:pt idx="274">
                  <c:v>44502</c:v>
                </c:pt>
                <c:pt idx="275">
                  <c:v>44503</c:v>
                </c:pt>
                <c:pt idx="276">
                  <c:v>44504</c:v>
                </c:pt>
                <c:pt idx="277">
                  <c:v>44505</c:v>
                </c:pt>
                <c:pt idx="278">
                  <c:v>44506</c:v>
                </c:pt>
                <c:pt idx="279">
                  <c:v>44507</c:v>
                </c:pt>
                <c:pt idx="280">
                  <c:v>44508</c:v>
                </c:pt>
                <c:pt idx="281">
                  <c:v>44509</c:v>
                </c:pt>
                <c:pt idx="282">
                  <c:v>44510</c:v>
                </c:pt>
                <c:pt idx="283">
                  <c:v>44511</c:v>
                </c:pt>
                <c:pt idx="284">
                  <c:v>44512</c:v>
                </c:pt>
                <c:pt idx="285">
                  <c:v>44513</c:v>
                </c:pt>
                <c:pt idx="286">
                  <c:v>44514</c:v>
                </c:pt>
                <c:pt idx="287">
                  <c:v>44515</c:v>
                </c:pt>
                <c:pt idx="288">
                  <c:v>44516</c:v>
                </c:pt>
                <c:pt idx="289">
                  <c:v>44517</c:v>
                </c:pt>
                <c:pt idx="290">
                  <c:v>44518</c:v>
                </c:pt>
                <c:pt idx="291">
                  <c:v>44519</c:v>
                </c:pt>
                <c:pt idx="292">
                  <c:v>44520</c:v>
                </c:pt>
                <c:pt idx="293">
                  <c:v>44521</c:v>
                </c:pt>
                <c:pt idx="294">
                  <c:v>44522</c:v>
                </c:pt>
                <c:pt idx="295">
                  <c:v>44523</c:v>
                </c:pt>
                <c:pt idx="296">
                  <c:v>44524</c:v>
                </c:pt>
                <c:pt idx="297">
                  <c:v>44525</c:v>
                </c:pt>
                <c:pt idx="298">
                  <c:v>44526</c:v>
                </c:pt>
                <c:pt idx="299">
                  <c:v>44527</c:v>
                </c:pt>
                <c:pt idx="300">
                  <c:v>44528</c:v>
                </c:pt>
                <c:pt idx="301">
                  <c:v>44529</c:v>
                </c:pt>
                <c:pt idx="302">
                  <c:v>44530</c:v>
                </c:pt>
                <c:pt idx="303">
                  <c:v>44531</c:v>
                </c:pt>
                <c:pt idx="304">
                  <c:v>44532</c:v>
                </c:pt>
                <c:pt idx="305">
                  <c:v>44533</c:v>
                </c:pt>
                <c:pt idx="306">
                  <c:v>44534</c:v>
                </c:pt>
                <c:pt idx="307">
                  <c:v>44535</c:v>
                </c:pt>
                <c:pt idx="308">
                  <c:v>44536</c:v>
                </c:pt>
                <c:pt idx="309">
                  <c:v>44537</c:v>
                </c:pt>
                <c:pt idx="310">
                  <c:v>44538</c:v>
                </c:pt>
                <c:pt idx="311">
                  <c:v>44539</c:v>
                </c:pt>
                <c:pt idx="312">
                  <c:v>44540</c:v>
                </c:pt>
                <c:pt idx="313">
                  <c:v>44541</c:v>
                </c:pt>
                <c:pt idx="314">
                  <c:v>44542</c:v>
                </c:pt>
                <c:pt idx="315">
                  <c:v>44543</c:v>
                </c:pt>
                <c:pt idx="316">
                  <c:v>44544</c:v>
                </c:pt>
                <c:pt idx="317">
                  <c:v>44545</c:v>
                </c:pt>
                <c:pt idx="318">
                  <c:v>44546</c:v>
                </c:pt>
                <c:pt idx="319">
                  <c:v>44547</c:v>
                </c:pt>
                <c:pt idx="320">
                  <c:v>44548</c:v>
                </c:pt>
                <c:pt idx="321">
                  <c:v>44549</c:v>
                </c:pt>
                <c:pt idx="322">
                  <c:v>44550</c:v>
                </c:pt>
                <c:pt idx="323">
                  <c:v>44551</c:v>
                </c:pt>
                <c:pt idx="324">
                  <c:v>44552</c:v>
                </c:pt>
              </c:numCache>
            </c:numRef>
          </c:cat>
          <c:val>
            <c:numRef>
              <c:f>List1!$B$2:$B$326</c:f>
              <c:numCache>
                <c:formatCode>General</c:formatCode>
                <c:ptCount val="325"/>
                <c:pt idx="0">
                  <c:v>81.159190783482998</c:v>
                </c:pt>
                <c:pt idx="1">
                  <c:v>64.303512579374001</c:v>
                </c:pt>
                <c:pt idx="2">
                  <c:v>55.003259452411001</c:v>
                </c:pt>
                <c:pt idx="3">
                  <c:v>78.186082877247003</c:v>
                </c:pt>
                <c:pt idx="4">
                  <c:v>53.769000103400998</c:v>
                </c:pt>
                <c:pt idx="5">
                  <c:v>35.35626637827</c:v>
                </c:pt>
                <c:pt idx="6">
                  <c:v>33.474904282695</c:v>
                </c:pt>
                <c:pt idx="7">
                  <c:v>42.702194892816998</c:v>
                </c:pt>
                <c:pt idx="8">
                  <c:v>50.386662869410003</c:v>
                </c:pt>
                <c:pt idx="9">
                  <c:v>69.661355924584996</c:v>
                </c:pt>
                <c:pt idx="10">
                  <c:v>62.521708926709998</c:v>
                </c:pt>
                <c:pt idx="11">
                  <c:v>64.785488050675994</c:v>
                </c:pt>
                <c:pt idx="12">
                  <c:v>28.944956341356999</c:v>
                </c:pt>
                <c:pt idx="13">
                  <c:v>19.387829290163001</c:v>
                </c:pt>
                <c:pt idx="14">
                  <c:v>60.209227064046999</c:v>
                </c:pt>
                <c:pt idx="15">
                  <c:v>89.028541503010999</c:v>
                </c:pt>
                <c:pt idx="16">
                  <c:v>35.409800343202001</c:v>
                </c:pt>
                <c:pt idx="17">
                  <c:v>79.904115061924998</c:v>
                </c:pt>
                <c:pt idx="18">
                  <c:v>68.399452804377006</c:v>
                </c:pt>
                <c:pt idx="19">
                  <c:v>39.012093749061997</c:v>
                </c:pt>
                <c:pt idx="20">
                  <c:v>24.159695587834999</c:v>
                </c:pt>
                <c:pt idx="21">
                  <c:v>104.13708226829399</c:v>
                </c:pt>
                <c:pt idx="22">
                  <c:v>98.129006934448995</c:v>
                </c:pt>
                <c:pt idx="23">
                  <c:v>77.821011673151006</c:v>
                </c:pt>
                <c:pt idx="24">
                  <c:v>115.424973767051</c:v>
                </c:pt>
                <c:pt idx="25">
                  <c:v>136.93693693693601</c:v>
                </c:pt>
                <c:pt idx="26">
                  <c:v>76.062153645549998</c:v>
                </c:pt>
                <c:pt idx="27">
                  <c:v>58.034095030830002</c:v>
                </c:pt>
                <c:pt idx="28">
                  <c:v>103.977125032492</c:v>
                </c:pt>
                <c:pt idx="29">
                  <c:v>155.12674990541001</c:v>
                </c:pt>
                <c:pt idx="30">
                  <c:v>122.671164609369</c:v>
                </c:pt>
                <c:pt idx="31">
                  <c:v>69.984447900465995</c:v>
                </c:pt>
                <c:pt idx="32">
                  <c:v>90.643966264680003</c:v>
                </c:pt>
                <c:pt idx="33">
                  <c:v>31.575623618565999</c:v>
                </c:pt>
                <c:pt idx="34">
                  <c:v>31.628054083972</c:v>
                </c:pt>
                <c:pt idx="35">
                  <c:v>79.830758791362001</c:v>
                </c:pt>
                <c:pt idx="36">
                  <c:v>68.731301043098</c:v>
                </c:pt>
                <c:pt idx="37">
                  <c:v>77.554185885137997</c:v>
                </c:pt>
                <c:pt idx="38">
                  <c:v>24.707626420688001</c:v>
                </c:pt>
                <c:pt idx="39">
                  <c:v>70.800882928657003</c:v>
                </c:pt>
                <c:pt idx="40">
                  <c:v>37.506251041840002</c:v>
                </c:pt>
                <c:pt idx="41">
                  <c:v>16.679871564988002</c:v>
                </c:pt>
                <c:pt idx="42">
                  <c:v>88.131609870739993</c:v>
                </c:pt>
                <c:pt idx="43">
                  <c:v>109.829763866007</c:v>
                </c:pt>
                <c:pt idx="44">
                  <c:v>29.755579171093999</c:v>
                </c:pt>
                <c:pt idx="45">
                  <c:v>42.766112132746002</c:v>
                </c:pt>
                <c:pt idx="46">
                  <c:v>38.907141621995002</c:v>
                </c:pt>
                <c:pt idx="47">
                  <c:v>21.623491761448999</c:v>
                </c:pt>
                <c:pt idx="48">
                  <c:v>21.630039799273</c:v>
                </c:pt>
                <c:pt idx="49">
                  <c:v>30.531687529986002</c:v>
                </c:pt>
                <c:pt idx="50">
                  <c:v>65.870367117512004</c:v>
                </c:pt>
                <c:pt idx="51">
                  <c:v>26.552197194316999</c:v>
                </c:pt>
                <c:pt idx="52">
                  <c:v>35.776575287329997</c:v>
                </c:pt>
                <c:pt idx="53">
                  <c:v>36.236807537254997</c:v>
                </c:pt>
                <c:pt idx="54">
                  <c:v>40.851527393217999</c:v>
                </c:pt>
                <c:pt idx="55">
                  <c:v>4.5547711227510002</c:v>
                </c:pt>
                <c:pt idx="56">
                  <c:v>60.026781179295</c:v>
                </c:pt>
                <c:pt idx="57">
                  <c:v>51.543976383486999</c:v>
                </c:pt>
                <c:pt idx="58">
                  <c:v>23.786869647953999</c:v>
                </c:pt>
                <c:pt idx="59">
                  <c:v>28.993911278631</c:v>
                </c:pt>
                <c:pt idx="60">
                  <c:v>19.769683190826001</c:v>
                </c:pt>
                <c:pt idx="61">
                  <c:v>14.858841010400999</c:v>
                </c:pt>
                <c:pt idx="62">
                  <c:v>19.844222850622</c:v>
                </c:pt>
                <c:pt idx="63">
                  <c:v>25.172431153400002</c:v>
                </c:pt>
                <c:pt idx="64">
                  <c:v>46.040515653775003</c:v>
                </c:pt>
                <c:pt idx="65">
                  <c:v>10.439503079653001</c:v>
                </c:pt>
                <c:pt idx="66">
                  <c:v>5.3262316910780001</c:v>
                </c:pt>
                <c:pt idx="67">
                  <c:v>10.924186148131</c:v>
                </c:pt>
                <c:pt idx="68">
                  <c:v>10.969723562965999</c:v>
                </c:pt>
                <c:pt idx="69">
                  <c:v>5.5002475111380003</c:v>
                </c:pt>
                <c:pt idx="70">
                  <c:v>16.772895001677</c:v>
                </c:pt>
                <c:pt idx="71">
                  <c:v>11.396011396011</c:v>
                </c:pt>
                <c:pt idx="72">
                  <c:v>52.198120867648001</c:v>
                </c:pt>
                <c:pt idx="73">
                  <c:v>17.774617845716001</c:v>
                </c:pt>
                <c:pt idx="74">
                  <c:v>17.876296031462001</c:v>
                </c:pt>
                <c:pt idx="75">
                  <c:v>5.9948444337859996</c:v>
                </c:pt>
                <c:pt idx="76">
                  <c:v>12.026458208057001</c:v>
                </c:pt>
                <c:pt idx="77">
                  <c:v>36.148933606458002</c:v>
                </c:pt>
                <c:pt idx="78">
                  <c:v>24.554941682012998</c:v>
                </c:pt>
                <c:pt idx="79">
                  <c:v>31.135188990597001</c:v>
                </c:pt>
                <c:pt idx="80">
                  <c:v>6.3351282863470004</c:v>
                </c:pt>
                <c:pt idx="81">
                  <c:v>19.326161180183998</c:v>
                </c:pt>
                <c:pt idx="82">
                  <c:v>6.4829821717989997</c:v>
                </c:pt>
                <c:pt idx="83">
                  <c:v>6.5044880967859999</c:v>
                </c:pt>
                <c:pt idx="84">
                  <c:v>13.150973172014</c:v>
                </c:pt>
                <c:pt idx="85">
                  <c:v>6.6458430251870002</c:v>
                </c:pt>
                <c:pt idx="86">
                  <c:v>40.371417036737</c:v>
                </c:pt>
                <c:pt idx="87">
                  <c:v>13.616557734203999</c:v>
                </c:pt>
                <c:pt idx="88">
                  <c:v>20.698219953083999</c:v>
                </c:pt>
                <c:pt idx="89">
                  <c:v>6.9137168141589997</c:v>
                </c:pt>
                <c:pt idx="90">
                  <c:v>0</c:v>
                </c:pt>
                <c:pt idx="91">
                  <c:v>6.9720421111339999</c:v>
                </c:pt>
                <c:pt idx="92">
                  <c:v>7.0269130770850001</c:v>
                </c:pt>
                <c:pt idx="93">
                  <c:v>7.0666384001129998</c:v>
                </c:pt>
                <c:pt idx="94">
                  <c:v>0</c:v>
                </c:pt>
                <c:pt idx="95">
                  <c:v>0</c:v>
                </c:pt>
                <c:pt idx="96">
                  <c:v>7.1813285457799996</c:v>
                </c:pt>
                <c:pt idx="97">
                  <c:v>7.190106413574</c:v>
                </c:pt>
                <c:pt idx="98">
                  <c:v>0</c:v>
                </c:pt>
                <c:pt idx="99">
                  <c:v>14.458179715172999</c:v>
                </c:pt>
                <c:pt idx="100">
                  <c:v>0</c:v>
                </c:pt>
                <c:pt idx="101">
                  <c:v>14.598540145985</c:v>
                </c:pt>
                <c:pt idx="102">
                  <c:v>14.679976512036999</c:v>
                </c:pt>
                <c:pt idx="103">
                  <c:v>7.3464590067579998</c:v>
                </c:pt>
                <c:pt idx="104">
                  <c:v>0</c:v>
                </c:pt>
                <c:pt idx="105">
                  <c:v>14.755791648221001</c:v>
                </c:pt>
                <c:pt idx="106">
                  <c:v>14.798372179059999</c:v>
                </c:pt>
                <c:pt idx="107">
                  <c:v>22.253542022105002</c:v>
                </c:pt>
                <c:pt idx="108">
                  <c:v>7.4371560315330001</c:v>
                </c:pt>
                <c:pt idx="109">
                  <c:v>7.4794315632010004</c:v>
                </c:pt>
                <c:pt idx="110">
                  <c:v>0</c:v>
                </c:pt>
                <c:pt idx="111">
                  <c:v>7.5046904315190002</c:v>
                </c:pt>
                <c:pt idx="112">
                  <c:v>0</c:v>
                </c:pt>
                <c:pt idx="113">
                  <c:v>7.5540111799360004</c:v>
                </c:pt>
                <c:pt idx="114">
                  <c:v>15.157256536566001</c:v>
                </c:pt>
                <c:pt idx="115">
                  <c:v>0</c:v>
                </c:pt>
                <c:pt idx="116">
                  <c:v>15.281173594131999</c:v>
                </c:pt>
                <c:pt idx="117">
                  <c:v>0</c:v>
                </c:pt>
                <c:pt idx="118">
                  <c:v>7.7053475111719996</c:v>
                </c:pt>
                <c:pt idx="119">
                  <c:v>0</c:v>
                </c:pt>
                <c:pt idx="120">
                  <c:v>15.658028654192</c:v>
                </c:pt>
                <c:pt idx="121">
                  <c:v>0</c:v>
                </c:pt>
                <c:pt idx="122">
                  <c:v>7.9865825413299998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0</c:v>
                </c:pt>
                <c:pt idx="127">
                  <c:v>0</c:v>
                </c:pt>
                <c:pt idx="128">
                  <c:v>0</c:v>
                </c:pt>
                <c:pt idx="129">
                  <c:v>16.743407283381998</c:v>
                </c:pt>
                <c:pt idx="131">
                  <c:v>0</c:v>
                </c:pt>
                <c:pt idx="132">
                  <c:v>0</c:v>
                </c:pt>
                <c:pt idx="133">
                  <c:v>8.5594453479410006</c:v>
                </c:pt>
                <c:pt idx="135">
                  <c:v>0</c:v>
                </c:pt>
                <c:pt idx="136">
                  <c:v>0</c:v>
                </c:pt>
                <c:pt idx="137">
                  <c:v>8.826125330979</c:v>
                </c:pt>
                <c:pt idx="138">
                  <c:v>0</c:v>
                </c:pt>
                <c:pt idx="139">
                  <c:v>0</c:v>
                </c:pt>
                <c:pt idx="141">
                  <c:v>0</c:v>
                </c:pt>
                <c:pt idx="142">
                  <c:v>0</c:v>
                </c:pt>
                <c:pt idx="143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</c:v>
                </c:pt>
                <c:pt idx="148">
                  <c:v>0</c:v>
                </c:pt>
                <c:pt idx="150">
                  <c:v>0</c:v>
                </c:pt>
                <c:pt idx="151">
                  <c:v>0</c:v>
                </c:pt>
                <c:pt idx="153">
                  <c:v>0</c:v>
                </c:pt>
                <c:pt idx="154">
                  <c:v>0</c:v>
                </c:pt>
                <c:pt idx="155">
                  <c:v>0</c:v>
                </c:pt>
                <c:pt idx="156">
                  <c:v>0</c:v>
                </c:pt>
                <c:pt idx="157">
                  <c:v>0</c:v>
                </c:pt>
                <c:pt idx="158">
                  <c:v>0</c:v>
                </c:pt>
                <c:pt idx="159">
                  <c:v>0</c:v>
                </c:pt>
                <c:pt idx="161">
                  <c:v>0</c:v>
                </c:pt>
                <c:pt idx="162">
                  <c:v>10.050251256280999</c:v>
                </c:pt>
                <c:pt idx="163">
                  <c:v>0</c:v>
                </c:pt>
                <c:pt idx="164">
                  <c:v>0</c:v>
                </c:pt>
                <c:pt idx="165">
                  <c:v>0</c:v>
                </c:pt>
                <c:pt idx="166">
                  <c:v>20.552872263897999</c:v>
                </c:pt>
                <c:pt idx="167">
                  <c:v>0</c:v>
                </c:pt>
                <c:pt idx="168">
                  <c:v>20.563438206868</c:v>
                </c:pt>
                <c:pt idx="169">
                  <c:v>0</c:v>
                </c:pt>
                <c:pt idx="170">
                  <c:v>10.345541071797999</c:v>
                </c:pt>
                <c:pt idx="171">
                  <c:v>0</c:v>
                </c:pt>
                <c:pt idx="172">
                  <c:v>0</c:v>
                </c:pt>
                <c:pt idx="173">
                  <c:v>0</c:v>
                </c:pt>
                <c:pt idx="174">
                  <c:v>10.493179433368001</c:v>
                </c:pt>
                <c:pt idx="175">
                  <c:v>10.546298249314001</c:v>
                </c:pt>
                <c:pt idx="176">
                  <c:v>10.599957600169001</c:v>
                </c:pt>
                <c:pt idx="177">
                  <c:v>0</c:v>
                </c:pt>
                <c:pt idx="178">
                  <c:v>21.424745581145999</c:v>
                </c:pt>
                <c:pt idx="179">
                  <c:v>21.554046772281001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  <c:pt idx="183">
                  <c:v>0</c:v>
                </c:pt>
                <c:pt idx="184">
                  <c:v>43.980208905992001</c:v>
                </c:pt>
                <c:pt idx="185">
                  <c:v>0</c:v>
                </c:pt>
                <c:pt idx="186">
                  <c:v>22.180326050792001</c:v>
                </c:pt>
                <c:pt idx="187">
                  <c:v>0</c:v>
                </c:pt>
                <c:pt idx="188">
                  <c:v>11.113580795732</c:v>
                </c:pt>
                <c:pt idx="189">
                  <c:v>11.15697869017</c:v>
                </c:pt>
                <c:pt idx="190">
                  <c:v>0</c:v>
                </c:pt>
                <c:pt idx="191">
                  <c:v>22.489598560665002</c:v>
                </c:pt>
                <c:pt idx="192">
                  <c:v>0</c:v>
                </c:pt>
                <c:pt idx="193">
                  <c:v>0</c:v>
                </c:pt>
                <c:pt idx="194">
                  <c:v>0</c:v>
                </c:pt>
                <c:pt idx="195">
                  <c:v>0</c:v>
                </c:pt>
                <c:pt idx="196">
                  <c:v>22.799817601459001</c:v>
                </c:pt>
                <c:pt idx="197">
                  <c:v>0</c:v>
                </c:pt>
                <c:pt idx="198">
                  <c:v>0</c:v>
                </c:pt>
                <c:pt idx="199">
                  <c:v>0</c:v>
                </c:pt>
                <c:pt idx="200">
                  <c:v>11.587485515642999</c:v>
                </c:pt>
                <c:pt idx="201">
                  <c:v>0</c:v>
                </c:pt>
                <c:pt idx="202">
                  <c:v>0</c:v>
                </c:pt>
                <c:pt idx="203">
                  <c:v>11.642798928862</c:v>
                </c:pt>
                <c:pt idx="204">
                  <c:v>0</c:v>
                </c:pt>
                <c:pt idx="205">
                  <c:v>0</c:v>
                </c:pt>
                <c:pt idx="206">
                  <c:v>11.779950524207001</c:v>
                </c:pt>
                <c:pt idx="207">
                  <c:v>0</c:v>
                </c:pt>
                <c:pt idx="208">
                  <c:v>0</c:v>
                </c:pt>
                <c:pt idx="209">
                  <c:v>0</c:v>
                </c:pt>
                <c:pt idx="210">
                  <c:v>0</c:v>
                </c:pt>
                <c:pt idx="211">
                  <c:v>0</c:v>
                </c:pt>
                <c:pt idx="212">
                  <c:v>11.963153487259</c:v>
                </c:pt>
                <c:pt idx="213">
                  <c:v>12.001920307249</c:v>
                </c:pt>
                <c:pt idx="214">
                  <c:v>0</c:v>
                </c:pt>
                <c:pt idx="215">
                  <c:v>12.046741356463</c:v>
                </c:pt>
                <c:pt idx="216">
                  <c:v>0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0</c:v>
                </c:pt>
                <c:pt idx="222">
                  <c:v>12.138868657441</c:v>
                </c:pt>
                <c:pt idx="223">
                  <c:v>0</c:v>
                </c:pt>
                <c:pt idx="224">
                  <c:v>0</c:v>
                </c:pt>
                <c:pt idx="225">
                  <c:v>12.137395314965</c:v>
                </c:pt>
                <c:pt idx="226">
                  <c:v>0</c:v>
                </c:pt>
                <c:pt idx="227">
                  <c:v>0</c:v>
                </c:pt>
                <c:pt idx="228">
                  <c:v>12.134449702705</c:v>
                </c:pt>
                <c:pt idx="229">
                  <c:v>12.116806009935001</c:v>
                </c:pt>
                <c:pt idx="230">
                  <c:v>0</c:v>
                </c:pt>
                <c:pt idx="231">
                  <c:v>0</c:v>
                </c:pt>
                <c:pt idx="232">
                  <c:v>12.086052695189</c:v>
                </c:pt>
                <c:pt idx="233">
                  <c:v>24.177949709863999</c:v>
                </c:pt>
                <c:pt idx="234">
                  <c:v>0</c:v>
                </c:pt>
                <c:pt idx="235">
                  <c:v>12.106537530265999</c:v>
                </c:pt>
                <c:pt idx="236">
                  <c:v>0</c:v>
                </c:pt>
                <c:pt idx="237">
                  <c:v>12.065637065637</c:v>
                </c:pt>
                <c:pt idx="238">
                  <c:v>24.099289070971999</c:v>
                </c:pt>
                <c:pt idx="239">
                  <c:v>12.043839576056</c:v>
                </c:pt>
                <c:pt idx="240">
                  <c:v>12.03514261644</c:v>
                </c:pt>
                <c:pt idx="241">
                  <c:v>12.045290291496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  <c:pt idx="245">
                  <c:v>0</c:v>
                </c:pt>
                <c:pt idx="246">
                  <c:v>0</c:v>
                </c:pt>
                <c:pt idx="247">
                  <c:v>12.090436464755999</c:v>
                </c:pt>
                <c:pt idx="248">
                  <c:v>12.125621438097999</c:v>
                </c:pt>
                <c:pt idx="249">
                  <c:v>12.161011796181</c:v>
                </c:pt>
                <c:pt idx="250">
                  <c:v>0</c:v>
                </c:pt>
                <c:pt idx="251">
                  <c:v>0</c:v>
                </c:pt>
                <c:pt idx="252">
                  <c:v>0</c:v>
                </c:pt>
                <c:pt idx="253">
                  <c:v>36.531904529956002</c:v>
                </c:pt>
                <c:pt idx="254">
                  <c:v>12.214486380846999</c:v>
                </c:pt>
                <c:pt idx="255">
                  <c:v>36.692759295499002</c:v>
                </c:pt>
                <c:pt idx="256">
                  <c:v>12.254901960784</c:v>
                </c:pt>
                <c:pt idx="257">
                  <c:v>0</c:v>
                </c:pt>
                <c:pt idx="258">
                  <c:v>24.500796275877999</c:v>
                </c:pt>
                <c:pt idx="259">
                  <c:v>49.031625398381003</c:v>
                </c:pt>
                <c:pt idx="260">
                  <c:v>61.39489194499</c:v>
                </c:pt>
                <c:pt idx="261">
                  <c:v>24.588148512417</c:v>
                </c:pt>
                <c:pt idx="262">
                  <c:v>36.954915003695</c:v>
                </c:pt>
                <c:pt idx="263">
                  <c:v>73.973616076932004</c:v>
                </c:pt>
                <c:pt idx="264">
                  <c:v>73.973616076932004</c:v>
                </c:pt>
                <c:pt idx="265">
                  <c:v>49.309664694280002</c:v>
                </c:pt>
                <c:pt idx="266">
                  <c:v>86.494501420980995</c:v>
                </c:pt>
                <c:pt idx="267">
                  <c:v>37.096574749597998</c:v>
                </c:pt>
                <c:pt idx="268">
                  <c:v>74.239049740162997</c:v>
                </c:pt>
                <c:pt idx="269">
                  <c:v>86.687306501546999</c:v>
                </c:pt>
                <c:pt idx="270">
                  <c:v>99.267899243081999</c:v>
                </c:pt>
                <c:pt idx="271">
                  <c:v>86.902545003103</c:v>
                </c:pt>
                <c:pt idx="272">
                  <c:v>24.826216484606999</c:v>
                </c:pt>
                <c:pt idx="273">
                  <c:v>161.651330514797</c:v>
                </c:pt>
                <c:pt idx="274">
                  <c:v>149.30944382232099</c:v>
                </c:pt>
                <c:pt idx="275">
                  <c:v>149.551345962113</c:v>
                </c:pt>
                <c:pt idx="276">
                  <c:v>87.423504433619996</c:v>
                </c:pt>
                <c:pt idx="277">
                  <c:v>162.88685628367301</c:v>
                </c:pt>
                <c:pt idx="278">
                  <c:v>37.631710988458998</c:v>
                </c:pt>
                <c:pt idx="279">
                  <c:v>50.188205771642998</c:v>
                </c:pt>
                <c:pt idx="280">
                  <c:v>176.05633802816899</c:v>
                </c:pt>
                <c:pt idx="281">
                  <c:v>75.633429976049001</c:v>
                </c:pt>
                <c:pt idx="282">
                  <c:v>151.76425951688299</c:v>
                </c:pt>
                <c:pt idx="283">
                  <c:v>177.14791851195699</c:v>
                </c:pt>
                <c:pt idx="284">
                  <c:v>126.774847870182</c:v>
                </c:pt>
                <c:pt idx="285">
                  <c:v>164.953686080446</c:v>
                </c:pt>
                <c:pt idx="286">
                  <c:v>50.787201625190001</c:v>
                </c:pt>
                <c:pt idx="287">
                  <c:v>254.744618519933</c:v>
                </c:pt>
                <c:pt idx="288">
                  <c:v>280.86301544746499</c:v>
                </c:pt>
                <c:pt idx="289">
                  <c:v>191.91402251791101</c:v>
                </c:pt>
                <c:pt idx="290">
                  <c:v>256.67351129363402</c:v>
                </c:pt>
                <c:pt idx="291">
                  <c:v>412.743454146781</c:v>
                </c:pt>
                <c:pt idx="292">
                  <c:v>232.558139534883</c:v>
                </c:pt>
                <c:pt idx="293">
                  <c:v>155.23932729624801</c:v>
                </c:pt>
                <c:pt idx="294">
                  <c:v>207.495785241862</c:v>
                </c:pt>
                <c:pt idx="295">
                  <c:v>207.84619381657501</c:v>
                </c:pt>
                <c:pt idx="296">
                  <c:v>143.19187711533399</c:v>
                </c:pt>
                <c:pt idx="297">
                  <c:v>326.71197072660698</c:v>
                </c:pt>
                <c:pt idx="298">
                  <c:v>196.72131147540901</c:v>
                </c:pt>
                <c:pt idx="299">
                  <c:v>65.642641459892005</c:v>
                </c:pt>
                <c:pt idx="300">
                  <c:v>105.097214923804</c:v>
                </c:pt>
                <c:pt idx="301">
                  <c:v>184.57481872116</c:v>
                </c:pt>
                <c:pt idx="302">
                  <c:v>158.91934843067099</c:v>
                </c:pt>
                <c:pt idx="303">
                  <c:v>159.13008884763201</c:v>
                </c:pt>
                <c:pt idx="304">
                  <c:v>159.68063872255399</c:v>
                </c:pt>
                <c:pt idx="305">
                  <c:v>160.55659620015999</c:v>
                </c:pt>
                <c:pt idx="306">
                  <c:v>147.314852015535</c:v>
                </c:pt>
                <c:pt idx="307">
                  <c:v>26.820437173125001</c:v>
                </c:pt>
                <c:pt idx="308">
                  <c:v>134.716421931833</c:v>
                </c:pt>
                <c:pt idx="309">
                  <c:v>121.703853955375</c:v>
                </c:pt>
                <c:pt idx="310">
                  <c:v>67.999456004351003</c:v>
                </c:pt>
                <c:pt idx="311">
                  <c:v>123.119015047879</c:v>
                </c:pt>
                <c:pt idx="312">
                  <c:v>151.43171806167399</c:v>
                </c:pt>
                <c:pt idx="313">
                  <c:v>68.927488282325996</c:v>
                </c:pt>
                <c:pt idx="314">
                  <c:v>55.187637969093998</c:v>
                </c:pt>
                <c:pt idx="315">
                  <c:v>110.75730305966999</c:v>
                </c:pt>
                <c:pt idx="316">
                  <c:v>55.586436909394003</c:v>
                </c:pt>
                <c:pt idx="317">
                  <c:v>111.60714285714199</c:v>
                </c:pt>
                <c:pt idx="318">
                  <c:v>69.959423534349995</c:v>
                </c:pt>
                <c:pt idx="319">
                  <c:v>98.397526005060001</c:v>
                </c:pt>
                <c:pt idx="320">
                  <c:v>112.580917534477</c:v>
                </c:pt>
                <c:pt idx="321">
                  <c:v>42.253521126759999</c:v>
                </c:pt>
                <c:pt idx="322">
                  <c:v>127.08274498729099</c:v>
                </c:pt>
                <c:pt idx="323">
                  <c:v>170.23691303730999</c:v>
                </c:pt>
                <c:pt idx="324">
                  <c:v>71.0833096388959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5C3-4E3F-BFF5-5996318E7CE8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Ukončené očkování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trendline>
            <c:spPr>
              <a:ln w="28575" cap="rnd">
                <a:solidFill>
                  <a:schemeClr val="accent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A$2:$A$326</c:f>
              <c:numCache>
                <c:formatCode>m/d/yyyy</c:formatCode>
                <c:ptCount val="325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  <c:pt idx="168">
                  <c:v>44396</c:v>
                </c:pt>
                <c:pt idx="169">
                  <c:v>44397</c:v>
                </c:pt>
                <c:pt idx="170">
                  <c:v>44398</c:v>
                </c:pt>
                <c:pt idx="171">
                  <c:v>44399</c:v>
                </c:pt>
                <c:pt idx="172">
                  <c:v>44400</c:v>
                </c:pt>
                <c:pt idx="173">
                  <c:v>44401</c:v>
                </c:pt>
                <c:pt idx="174">
                  <c:v>44402</c:v>
                </c:pt>
                <c:pt idx="175">
                  <c:v>44403</c:v>
                </c:pt>
                <c:pt idx="176">
                  <c:v>44404</c:v>
                </c:pt>
                <c:pt idx="177">
                  <c:v>44405</c:v>
                </c:pt>
                <c:pt idx="178">
                  <c:v>44406</c:v>
                </c:pt>
                <c:pt idx="179">
                  <c:v>44407</c:v>
                </c:pt>
                <c:pt idx="180">
                  <c:v>44408</c:v>
                </c:pt>
                <c:pt idx="181">
                  <c:v>44409</c:v>
                </c:pt>
                <c:pt idx="182">
                  <c:v>44410</c:v>
                </c:pt>
                <c:pt idx="183">
                  <c:v>44411</c:v>
                </c:pt>
                <c:pt idx="184">
                  <c:v>44412</c:v>
                </c:pt>
                <c:pt idx="185">
                  <c:v>44413</c:v>
                </c:pt>
                <c:pt idx="186">
                  <c:v>44414</c:v>
                </c:pt>
                <c:pt idx="187">
                  <c:v>44415</c:v>
                </c:pt>
                <c:pt idx="188">
                  <c:v>44416</c:v>
                </c:pt>
                <c:pt idx="189">
                  <c:v>44417</c:v>
                </c:pt>
                <c:pt idx="190">
                  <c:v>44418</c:v>
                </c:pt>
                <c:pt idx="191">
                  <c:v>44419</c:v>
                </c:pt>
                <c:pt idx="192">
                  <c:v>44420</c:v>
                </c:pt>
                <c:pt idx="193">
                  <c:v>44421</c:v>
                </c:pt>
                <c:pt idx="194">
                  <c:v>44422</c:v>
                </c:pt>
                <c:pt idx="195">
                  <c:v>44423</c:v>
                </c:pt>
                <c:pt idx="196">
                  <c:v>44424</c:v>
                </c:pt>
                <c:pt idx="197">
                  <c:v>44425</c:v>
                </c:pt>
                <c:pt idx="198">
                  <c:v>44426</c:v>
                </c:pt>
                <c:pt idx="199">
                  <c:v>44427</c:v>
                </c:pt>
                <c:pt idx="200">
                  <c:v>44428</c:v>
                </c:pt>
                <c:pt idx="201">
                  <c:v>44429</c:v>
                </c:pt>
                <c:pt idx="202">
                  <c:v>44430</c:v>
                </c:pt>
                <c:pt idx="203">
                  <c:v>44431</c:v>
                </c:pt>
                <c:pt idx="204">
                  <c:v>44432</c:v>
                </c:pt>
                <c:pt idx="205">
                  <c:v>44433</c:v>
                </c:pt>
                <c:pt idx="206">
                  <c:v>44434</c:v>
                </c:pt>
                <c:pt idx="207">
                  <c:v>44435</c:v>
                </c:pt>
                <c:pt idx="208">
                  <c:v>44436</c:v>
                </c:pt>
                <c:pt idx="209">
                  <c:v>44437</c:v>
                </c:pt>
                <c:pt idx="210">
                  <c:v>44438</c:v>
                </c:pt>
                <c:pt idx="211">
                  <c:v>44439</c:v>
                </c:pt>
                <c:pt idx="212">
                  <c:v>44440</c:v>
                </c:pt>
                <c:pt idx="213">
                  <c:v>44441</c:v>
                </c:pt>
                <c:pt idx="214">
                  <c:v>44442</c:v>
                </c:pt>
                <c:pt idx="215">
                  <c:v>44443</c:v>
                </c:pt>
                <c:pt idx="216">
                  <c:v>44444</c:v>
                </c:pt>
                <c:pt idx="217">
                  <c:v>44445</c:v>
                </c:pt>
                <c:pt idx="218">
                  <c:v>44446</c:v>
                </c:pt>
                <c:pt idx="219">
                  <c:v>44447</c:v>
                </c:pt>
                <c:pt idx="220">
                  <c:v>44448</c:v>
                </c:pt>
                <c:pt idx="221">
                  <c:v>44449</c:v>
                </c:pt>
                <c:pt idx="222">
                  <c:v>44450</c:v>
                </c:pt>
                <c:pt idx="223">
                  <c:v>44451</c:v>
                </c:pt>
                <c:pt idx="224">
                  <c:v>44452</c:v>
                </c:pt>
                <c:pt idx="225">
                  <c:v>44453</c:v>
                </c:pt>
                <c:pt idx="226">
                  <c:v>44454</c:v>
                </c:pt>
                <c:pt idx="227">
                  <c:v>44455</c:v>
                </c:pt>
                <c:pt idx="228">
                  <c:v>44456</c:v>
                </c:pt>
                <c:pt idx="229">
                  <c:v>44457</c:v>
                </c:pt>
                <c:pt idx="230">
                  <c:v>44458</c:v>
                </c:pt>
                <c:pt idx="231">
                  <c:v>44459</c:v>
                </c:pt>
                <c:pt idx="232">
                  <c:v>44460</c:v>
                </c:pt>
                <c:pt idx="233">
                  <c:v>44461</c:v>
                </c:pt>
                <c:pt idx="234">
                  <c:v>44462</c:v>
                </c:pt>
                <c:pt idx="235">
                  <c:v>44463</c:v>
                </c:pt>
                <c:pt idx="236">
                  <c:v>44464</c:v>
                </c:pt>
                <c:pt idx="237">
                  <c:v>44465</c:v>
                </c:pt>
                <c:pt idx="238">
                  <c:v>44466</c:v>
                </c:pt>
                <c:pt idx="239">
                  <c:v>44467</c:v>
                </c:pt>
                <c:pt idx="240">
                  <c:v>44468</c:v>
                </c:pt>
                <c:pt idx="241">
                  <c:v>44469</c:v>
                </c:pt>
                <c:pt idx="242">
                  <c:v>44470</c:v>
                </c:pt>
                <c:pt idx="243">
                  <c:v>44471</c:v>
                </c:pt>
                <c:pt idx="244">
                  <c:v>44472</c:v>
                </c:pt>
                <c:pt idx="245">
                  <c:v>44473</c:v>
                </c:pt>
                <c:pt idx="246">
                  <c:v>44474</c:v>
                </c:pt>
                <c:pt idx="247">
                  <c:v>44475</c:v>
                </c:pt>
                <c:pt idx="248">
                  <c:v>44476</c:v>
                </c:pt>
                <c:pt idx="249">
                  <c:v>44477</c:v>
                </c:pt>
                <c:pt idx="250">
                  <c:v>44478</c:v>
                </c:pt>
                <c:pt idx="251">
                  <c:v>44479</c:v>
                </c:pt>
                <c:pt idx="252">
                  <c:v>44480</c:v>
                </c:pt>
                <c:pt idx="253">
                  <c:v>44481</c:v>
                </c:pt>
                <c:pt idx="254">
                  <c:v>44482</c:v>
                </c:pt>
                <c:pt idx="255">
                  <c:v>44483</c:v>
                </c:pt>
                <c:pt idx="256">
                  <c:v>44484</c:v>
                </c:pt>
                <c:pt idx="257">
                  <c:v>44485</c:v>
                </c:pt>
                <c:pt idx="258">
                  <c:v>44486</c:v>
                </c:pt>
                <c:pt idx="259">
                  <c:v>44487</c:v>
                </c:pt>
                <c:pt idx="260">
                  <c:v>44488</c:v>
                </c:pt>
                <c:pt idx="261">
                  <c:v>44489</c:v>
                </c:pt>
                <c:pt idx="262">
                  <c:v>44490</c:v>
                </c:pt>
                <c:pt idx="263">
                  <c:v>44491</c:v>
                </c:pt>
                <c:pt idx="264">
                  <c:v>44492</c:v>
                </c:pt>
                <c:pt idx="265">
                  <c:v>44493</c:v>
                </c:pt>
                <c:pt idx="266">
                  <c:v>44494</c:v>
                </c:pt>
                <c:pt idx="267">
                  <c:v>44495</c:v>
                </c:pt>
                <c:pt idx="268">
                  <c:v>44496</c:v>
                </c:pt>
                <c:pt idx="269">
                  <c:v>44497</c:v>
                </c:pt>
                <c:pt idx="270">
                  <c:v>44498</c:v>
                </c:pt>
                <c:pt idx="271">
                  <c:v>44499</c:v>
                </c:pt>
                <c:pt idx="272">
                  <c:v>44500</c:v>
                </c:pt>
                <c:pt idx="273">
                  <c:v>44501</c:v>
                </c:pt>
                <c:pt idx="274">
                  <c:v>44502</c:v>
                </c:pt>
                <c:pt idx="275">
                  <c:v>44503</c:v>
                </c:pt>
                <c:pt idx="276">
                  <c:v>44504</c:v>
                </c:pt>
                <c:pt idx="277">
                  <c:v>44505</c:v>
                </c:pt>
                <c:pt idx="278">
                  <c:v>44506</c:v>
                </c:pt>
                <c:pt idx="279">
                  <c:v>44507</c:v>
                </c:pt>
                <c:pt idx="280">
                  <c:v>44508</c:v>
                </c:pt>
                <c:pt idx="281">
                  <c:v>44509</c:v>
                </c:pt>
                <c:pt idx="282">
                  <c:v>44510</c:v>
                </c:pt>
                <c:pt idx="283">
                  <c:v>44511</c:v>
                </c:pt>
                <c:pt idx="284">
                  <c:v>44512</c:v>
                </c:pt>
                <c:pt idx="285">
                  <c:v>44513</c:v>
                </c:pt>
                <c:pt idx="286">
                  <c:v>44514</c:v>
                </c:pt>
                <c:pt idx="287">
                  <c:v>44515</c:v>
                </c:pt>
                <c:pt idx="288">
                  <c:v>44516</c:v>
                </c:pt>
                <c:pt idx="289">
                  <c:v>44517</c:v>
                </c:pt>
                <c:pt idx="290">
                  <c:v>44518</c:v>
                </c:pt>
                <c:pt idx="291">
                  <c:v>44519</c:v>
                </c:pt>
                <c:pt idx="292">
                  <c:v>44520</c:v>
                </c:pt>
                <c:pt idx="293">
                  <c:v>44521</c:v>
                </c:pt>
                <c:pt idx="294">
                  <c:v>44522</c:v>
                </c:pt>
                <c:pt idx="295">
                  <c:v>44523</c:v>
                </c:pt>
                <c:pt idx="296">
                  <c:v>44524</c:v>
                </c:pt>
                <c:pt idx="297">
                  <c:v>44525</c:v>
                </c:pt>
                <c:pt idx="298">
                  <c:v>44526</c:v>
                </c:pt>
                <c:pt idx="299">
                  <c:v>44527</c:v>
                </c:pt>
                <c:pt idx="300">
                  <c:v>44528</c:v>
                </c:pt>
                <c:pt idx="301">
                  <c:v>44529</c:v>
                </c:pt>
                <c:pt idx="302">
                  <c:v>44530</c:v>
                </c:pt>
                <c:pt idx="303">
                  <c:v>44531</c:v>
                </c:pt>
                <c:pt idx="304">
                  <c:v>44532</c:v>
                </c:pt>
                <c:pt idx="305">
                  <c:v>44533</c:v>
                </c:pt>
                <c:pt idx="306">
                  <c:v>44534</c:v>
                </c:pt>
                <c:pt idx="307">
                  <c:v>44535</c:v>
                </c:pt>
                <c:pt idx="308">
                  <c:v>44536</c:v>
                </c:pt>
                <c:pt idx="309">
                  <c:v>44537</c:v>
                </c:pt>
                <c:pt idx="310">
                  <c:v>44538</c:v>
                </c:pt>
                <c:pt idx="311">
                  <c:v>44539</c:v>
                </c:pt>
                <c:pt idx="312">
                  <c:v>44540</c:v>
                </c:pt>
                <c:pt idx="313">
                  <c:v>44541</c:v>
                </c:pt>
                <c:pt idx="314">
                  <c:v>44542</c:v>
                </c:pt>
                <c:pt idx="315">
                  <c:v>44543</c:v>
                </c:pt>
                <c:pt idx="316">
                  <c:v>44544</c:v>
                </c:pt>
                <c:pt idx="317">
                  <c:v>44545</c:v>
                </c:pt>
                <c:pt idx="318">
                  <c:v>44546</c:v>
                </c:pt>
                <c:pt idx="319">
                  <c:v>44547</c:v>
                </c:pt>
                <c:pt idx="320">
                  <c:v>44548</c:v>
                </c:pt>
                <c:pt idx="321">
                  <c:v>44549</c:v>
                </c:pt>
                <c:pt idx="322">
                  <c:v>44550</c:v>
                </c:pt>
                <c:pt idx="323">
                  <c:v>44551</c:v>
                </c:pt>
                <c:pt idx="324">
                  <c:v>44552</c:v>
                </c:pt>
              </c:numCache>
            </c:numRef>
          </c:cat>
          <c:val>
            <c:numRef>
              <c:f>List1!$C$2:$C$326</c:f>
              <c:numCache>
                <c:formatCode>General</c:formatCode>
                <c:ptCount val="32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12.30920728705</c:v>
                </c:pt>
                <c:pt idx="11">
                  <c:v>10.384215991692001</c:v>
                </c:pt>
                <c:pt idx="12">
                  <c:v>0</c:v>
                </c:pt>
                <c:pt idx="13">
                  <c:v>0</c:v>
                </c:pt>
                <c:pt idx="14">
                  <c:v>8.7443161944730008</c:v>
                </c:pt>
                <c:pt idx="15">
                  <c:v>22.892025944296002</c:v>
                </c:pt>
                <c:pt idx="16">
                  <c:v>6.8591810137860003</c:v>
                </c:pt>
                <c:pt idx="17">
                  <c:v>12.309964916599</c:v>
                </c:pt>
                <c:pt idx="18">
                  <c:v>0</c:v>
                </c:pt>
                <c:pt idx="19">
                  <c:v>11.135857461024001</c:v>
                </c:pt>
                <c:pt idx="20">
                  <c:v>5.5044861562170002</c:v>
                </c:pt>
                <c:pt idx="21">
                  <c:v>15.315499285275999</c:v>
                </c:pt>
                <c:pt idx="22">
                  <c:v>9.6609023282770004</c:v>
                </c:pt>
                <c:pt idx="23">
                  <c:v>13.814698839565001</c:v>
                </c:pt>
                <c:pt idx="24">
                  <c:v>13.228679777758</c:v>
                </c:pt>
                <c:pt idx="25">
                  <c:v>8.505209440782</c:v>
                </c:pt>
                <c:pt idx="26">
                  <c:v>8.4555870291289992</c:v>
                </c:pt>
                <c:pt idx="27">
                  <c:v>12.664105703068</c:v>
                </c:pt>
                <c:pt idx="28">
                  <c:v>16.442635754510999</c:v>
                </c:pt>
                <c:pt idx="29">
                  <c:v>4.0286842317289997</c:v>
                </c:pt>
                <c:pt idx="30">
                  <c:v>11.922266820331</c:v>
                </c:pt>
                <c:pt idx="31">
                  <c:v>7.8345346286430004</c:v>
                </c:pt>
                <c:pt idx="32">
                  <c:v>3.8650330460319999</c:v>
                </c:pt>
                <c:pt idx="33">
                  <c:v>7.7187294971240004</c:v>
                </c:pt>
                <c:pt idx="34">
                  <c:v>0</c:v>
                </c:pt>
                <c:pt idx="35">
                  <c:v>11.453441759247999</c:v>
                </c:pt>
                <c:pt idx="36">
                  <c:v>15.088076647429</c:v>
                </c:pt>
                <c:pt idx="37">
                  <c:v>7.4780332772479996</c:v>
                </c:pt>
                <c:pt idx="38">
                  <c:v>7.4183976261120002</c:v>
                </c:pt>
                <c:pt idx="39">
                  <c:v>3.6721504112800001</c:v>
                </c:pt>
                <c:pt idx="40">
                  <c:v>3.6701288215210002</c:v>
                </c:pt>
                <c:pt idx="41">
                  <c:v>11.004732034773999</c:v>
                </c:pt>
                <c:pt idx="42">
                  <c:v>7.2958085579830003</c:v>
                </c:pt>
                <c:pt idx="43">
                  <c:v>14.509576320371</c:v>
                </c:pt>
                <c:pt idx="44">
                  <c:v>10.824463287027999</c:v>
                </c:pt>
                <c:pt idx="45">
                  <c:v>10.769672601951999</c:v>
                </c:pt>
                <c:pt idx="46">
                  <c:v>10.673497705197001</c:v>
                </c:pt>
                <c:pt idx="47">
                  <c:v>3.5568202027379998</c:v>
                </c:pt>
                <c:pt idx="48">
                  <c:v>3.5559348552730001</c:v>
                </c:pt>
                <c:pt idx="49">
                  <c:v>10.596962204167999</c:v>
                </c:pt>
                <c:pt idx="50">
                  <c:v>7.0264193367059997</c:v>
                </c:pt>
                <c:pt idx="51">
                  <c:v>6.9834840601970001</c:v>
                </c:pt>
                <c:pt idx="52">
                  <c:v>3.4633234051390001</c:v>
                </c:pt>
                <c:pt idx="53">
                  <c:v>10.288771520679999</c:v>
                </c:pt>
                <c:pt idx="54">
                  <c:v>10.272917166044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9.9298292069370007</c:v>
                </c:pt>
                <c:pt idx="59">
                  <c:v>3.2745014571529998</c:v>
                </c:pt>
                <c:pt idx="60">
                  <c:v>0</c:v>
                </c:pt>
                <c:pt idx="61">
                  <c:v>6.4418462331299997</c:v>
                </c:pt>
                <c:pt idx="62">
                  <c:v>0</c:v>
                </c:pt>
                <c:pt idx="63">
                  <c:v>0</c:v>
                </c:pt>
                <c:pt idx="64">
                  <c:v>3.1551713258020002</c:v>
                </c:pt>
                <c:pt idx="65">
                  <c:v>3.116624072804</c:v>
                </c:pt>
                <c:pt idx="66">
                  <c:v>15.398355455637001</c:v>
                </c:pt>
                <c:pt idx="67">
                  <c:v>6.0716454159069997</c:v>
                </c:pt>
                <c:pt idx="68">
                  <c:v>0</c:v>
                </c:pt>
                <c:pt idx="69">
                  <c:v>3.023888720895</c:v>
                </c:pt>
                <c:pt idx="70">
                  <c:v>5.9939461144240003</c:v>
                </c:pt>
                <c:pt idx="71">
                  <c:v>2.9669188547690002</c:v>
                </c:pt>
                <c:pt idx="72">
                  <c:v>0</c:v>
                </c:pt>
                <c:pt idx="73">
                  <c:v>0</c:v>
                </c:pt>
                <c:pt idx="74">
                  <c:v>2.9004002552350001</c:v>
                </c:pt>
                <c:pt idx="75">
                  <c:v>5.7835227437030001</c:v>
                </c:pt>
                <c:pt idx="76">
                  <c:v>5.7746722873470002</c:v>
                </c:pt>
                <c:pt idx="77">
                  <c:v>5.7690088842730001</c:v>
                </c:pt>
                <c:pt idx="78">
                  <c:v>0</c:v>
                </c:pt>
                <c:pt idx="79">
                  <c:v>11.360408974723001</c:v>
                </c:pt>
                <c:pt idx="80">
                  <c:v>2.8180127374169999</c:v>
                </c:pt>
                <c:pt idx="81">
                  <c:v>8.3916083916080009</c:v>
                </c:pt>
                <c:pt idx="82">
                  <c:v>0</c:v>
                </c:pt>
                <c:pt idx="83">
                  <c:v>0</c:v>
                </c:pt>
                <c:pt idx="84">
                  <c:v>2.7723870252279998</c:v>
                </c:pt>
                <c:pt idx="85">
                  <c:v>5.5198299892360003</c:v>
                </c:pt>
                <c:pt idx="86">
                  <c:v>2.7457440966500002</c:v>
                </c:pt>
                <c:pt idx="87">
                  <c:v>13.662695376543001</c:v>
                </c:pt>
                <c:pt idx="88">
                  <c:v>2.7179821700360001</c:v>
                </c:pt>
                <c:pt idx="89">
                  <c:v>0</c:v>
                </c:pt>
                <c:pt idx="90">
                  <c:v>8.1406707912729992</c:v>
                </c:pt>
                <c:pt idx="91">
                  <c:v>2.7070925825660002</c:v>
                </c:pt>
                <c:pt idx="92">
                  <c:v>5.3979649672069998</c:v>
                </c:pt>
                <c:pt idx="93">
                  <c:v>10.773250020199001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5.3485946567529998</c:v>
                </c:pt>
                <c:pt idx="99">
                  <c:v>0</c:v>
                </c:pt>
                <c:pt idx="100">
                  <c:v>0</c:v>
                </c:pt>
                <c:pt idx="101">
                  <c:v>7.9855195911410002</c:v>
                </c:pt>
                <c:pt idx="102">
                  <c:v>0</c:v>
                </c:pt>
                <c:pt idx="103">
                  <c:v>2.655830876689</c:v>
                </c:pt>
                <c:pt idx="104">
                  <c:v>0</c:v>
                </c:pt>
                <c:pt idx="105">
                  <c:v>0</c:v>
                </c:pt>
                <c:pt idx="106">
                  <c:v>0</c:v>
                </c:pt>
                <c:pt idx="107">
                  <c:v>2.6470432526860002</c:v>
                </c:pt>
                <c:pt idx="108">
                  <c:v>0</c:v>
                </c:pt>
                <c:pt idx="109">
                  <c:v>0</c:v>
                </c:pt>
                <c:pt idx="110">
                  <c:v>2.6390794890740001</c:v>
                </c:pt>
                <c:pt idx="111">
                  <c:v>0</c:v>
                </c:pt>
                <c:pt idx="112">
                  <c:v>2.633519435373</c:v>
                </c:pt>
                <c:pt idx="113">
                  <c:v>0</c:v>
                </c:pt>
                <c:pt idx="114">
                  <c:v>0</c:v>
                </c:pt>
                <c:pt idx="115">
                  <c:v>5.2498950020989996</c:v>
                </c:pt>
                <c:pt idx="116">
                  <c:v>5.2413648514069999</c:v>
                </c:pt>
                <c:pt idx="117">
                  <c:v>0</c:v>
                </c:pt>
                <c:pt idx="118">
                  <c:v>0</c:v>
                </c:pt>
                <c:pt idx="119">
                  <c:v>2.6093990553970001</c:v>
                </c:pt>
                <c:pt idx="120">
                  <c:v>0</c:v>
                </c:pt>
                <c:pt idx="121">
                  <c:v>0</c:v>
                </c:pt>
                <c:pt idx="122">
                  <c:v>2.5829781738339999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0</c:v>
                </c:pt>
                <c:pt idx="127">
                  <c:v>0</c:v>
                </c:pt>
                <c:pt idx="128">
                  <c:v>0</c:v>
                </c:pt>
                <c:pt idx="129">
                  <c:v>0</c:v>
                </c:pt>
                <c:pt idx="131">
                  <c:v>2.5351755609070001</c:v>
                </c:pt>
                <c:pt idx="132">
                  <c:v>0</c:v>
                </c:pt>
                <c:pt idx="133">
                  <c:v>0</c:v>
                </c:pt>
                <c:pt idx="135">
                  <c:v>0</c:v>
                </c:pt>
                <c:pt idx="136">
                  <c:v>0</c:v>
                </c:pt>
                <c:pt idx="137">
                  <c:v>0</c:v>
                </c:pt>
                <c:pt idx="138">
                  <c:v>0</c:v>
                </c:pt>
                <c:pt idx="139">
                  <c:v>0</c:v>
                </c:pt>
                <c:pt idx="141">
                  <c:v>0</c:v>
                </c:pt>
                <c:pt idx="142">
                  <c:v>0</c:v>
                </c:pt>
                <c:pt idx="143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</c:v>
                </c:pt>
                <c:pt idx="148">
                  <c:v>0</c:v>
                </c:pt>
                <c:pt idx="150">
                  <c:v>2.4602666929089998</c:v>
                </c:pt>
                <c:pt idx="151">
                  <c:v>0</c:v>
                </c:pt>
                <c:pt idx="153">
                  <c:v>2.4515211688849998</c:v>
                </c:pt>
                <c:pt idx="154">
                  <c:v>0</c:v>
                </c:pt>
                <c:pt idx="155">
                  <c:v>0</c:v>
                </c:pt>
                <c:pt idx="156">
                  <c:v>0</c:v>
                </c:pt>
                <c:pt idx="157">
                  <c:v>0</c:v>
                </c:pt>
                <c:pt idx="158">
                  <c:v>4.8628671464690001</c:v>
                </c:pt>
                <c:pt idx="159">
                  <c:v>0</c:v>
                </c:pt>
                <c:pt idx="161">
                  <c:v>4.8531909730639997</c:v>
                </c:pt>
                <c:pt idx="162">
                  <c:v>0</c:v>
                </c:pt>
                <c:pt idx="163">
                  <c:v>0</c:v>
                </c:pt>
                <c:pt idx="164">
                  <c:v>0</c:v>
                </c:pt>
                <c:pt idx="165">
                  <c:v>7.2313551559559999</c:v>
                </c:pt>
                <c:pt idx="166">
                  <c:v>0</c:v>
                </c:pt>
                <c:pt idx="167">
                  <c:v>2.4089419926760001</c:v>
                </c:pt>
                <c:pt idx="168">
                  <c:v>0</c:v>
                </c:pt>
                <c:pt idx="169">
                  <c:v>4.8164916674690001</c:v>
                </c:pt>
                <c:pt idx="170">
                  <c:v>2.4048867298349998</c:v>
                </c:pt>
                <c:pt idx="171">
                  <c:v>9.6091479088089997</c:v>
                </c:pt>
                <c:pt idx="172">
                  <c:v>0</c:v>
                </c:pt>
                <c:pt idx="173">
                  <c:v>0</c:v>
                </c:pt>
                <c:pt idx="174">
                  <c:v>0</c:v>
                </c:pt>
                <c:pt idx="175">
                  <c:v>4.7868648428710001</c:v>
                </c:pt>
                <c:pt idx="176">
                  <c:v>0</c:v>
                </c:pt>
                <c:pt idx="177">
                  <c:v>2.387318563789</c:v>
                </c:pt>
                <c:pt idx="178">
                  <c:v>0</c:v>
                </c:pt>
                <c:pt idx="179">
                  <c:v>0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  <c:pt idx="183">
                  <c:v>0</c:v>
                </c:pt>
                <c:pt idx="184">
                  <c:v>7.1093416749599996</c:v>
                </c:pt>
                <c:pt idx="185">
                  <c:v>2.3669759515240001</c:v>
                </c:pt>
                <c:pt idx="186">
                  <c:v>0</c:v>
                </c:pt>
                <c:pt idx="187">
                  <c:v>0</c:v>
                </c:pt>
                <c:pt idx="188">
                  <c:v>4.7269031693879997</c:v>
                </c:pt>
                <c:pt idx="189">
                  <c:v>2.361275088547</c:v>
                </c:pt>
                <c:pt idx="190">
                  <c:v>0</c:v>
                </c:pt>
                <c:pt idx="191">
                  <c:v>4.7139793056299997</c:v>
                </c:pt>
                <c:pt idx="192">
                  <c:v>2.355157795572</c:v>
                </c:pt>
                <c:pt idx="193">
                  <c:v>2.3524983532510002</c:v>
                </c:pt>
                <c:pt idx="194">
                  <c:v>0</c:v>
                </c:pt>
                <c:pt idx="195">
                  <c:v>0</c:v>
                </c:pt>
                <c:pt idx="196">
                  <c:v>2.349182484495</c:v>
                </c:pt>
                <c:pt idx="197">
                  <c:v>0</c:v>
                </c:pt>
                <c:pt idx="198">
                  <c:v>0</c:v>
                </c:pt>
                <c:pt idx="199">
                  <c:v>4.6862552134579998</c:v>
                </c:pt>
                <c:pt idx="200">
                  <c:v>0</c:v>
                </c:pt>
                <c:pt idx="201">
                  <c:v>0</c:v>
                </c:pt>
                <c:pt idx="202">
                  <c:v>0</c:v>
                </c:pt>
                <c:pt idx="203">
                  <c:v>2.337650194024</c:v>
                </c:pt>
                <c:pt idx="204">
                  <c:v>0</c:v>
                </c:pt>
                <c:pt idx="205">
                  <c:v>2.3333411111369999</c:v>
                </c:pt>
                <c:pt idx="206">
                  <c:v>0</c:v>
                </c:pt>
                <c:pt idx="207">
                  <c:v>2.329373398555</c:v>
                </c:pt>
                <c:pt idx="208">
                  <c:v>2.328397131414</c:v>
                </c:pt>
                <c:pt idx="209">
                  <c:v>0</c:v>
                </c:pt>
                <c:pt idx="210">
                  <c:v>0</c:v>
                </c:pt>
                <c:pt idx="211">
                  <c:v>9.2973525788529994</c:v>
                </c:pt>
                <c:pt idx="212">
                  <c:v>6.9676700111479999</c:v>
                </c:pt>
                <c:pt idx="213">
                  <c:v>0</c:v>
                </c:pt>
                <c:pt idx="214">
                  <c:v>2.317174900361</c:v>
                </c:pt>
                <c:pt idx="215">
                  <c:v>4.6335982206980004</c:v>
                </c:pt>
                <c:pt idx="216">
                  <c:v>2.3163161308250002</c:v>
                </c:pt>
                <c:pt idx="217">
                  <c:v>0</c:v>
                </c:pt>
                <c:pt idx="218">
                  <c:v>4.6265238612959996</c:v>
                </c:pt>
                <c:pt idx="219">
                  <c:v>0</c:v>
                </c:pt>
                <c:pt idx="220">
                  <c:v>0</c:v>
                </c:pt>
                <c:pt idx="221">
                  <c:v>6.9234497242149997</c:v>
                </c:pt>
                <c:pt idx="222">
                  <c:v>4.6145681917810002</c:v>
                </c:pt>
                <c:pt idx="223">
                  <c:v>0</c:v>
                </c:pt>
                <c:pt idx="224">
                  <c:v>9.2225398874850004</c:v>
                </c:pt>
                <c:pt idx="225">
                  <c:v>2.3047316140029999</c:v>
                </c:pt>
                <c:pt idx="226">
                  <c:v>0</c:v>
                </c:pt>
                <c:pt idx="227">
                  <c:v>2.3030330945849999</c:v>
                </c:pt>
                <c:pt idx="228">
                  <c:v>2.3022377751169998</c:v>
                </c:pt>
                <c:pt idx="229">
                  <c:v>0</c:v>
                </c:pt>
                <c:pt idx="230">
                  <c:v>2.3018668139859999</c:v>
                </c:pt>
                <c:pt idx="231">
                  <c:v>0</c:v>
                </c:pt>
                <c:pt idx="232">
                  <c:v>4.6009800087409998</c:v>
                </c:pt>
                <c:pt idx="233">
                  <c:v>2.2995377929030001</c:v>
                </c:pt>
                <c:pt idx="234">
                  <c:v>4.5961162817409997</c:v>
                </c:pt>
                <c:pt idx="235">
                  <c:v>4.5943214187260004</c:v>
                </c:pt>
                <c:pt idx="236">
                  <c:v>0</c:v>
                </c:pt>
                <c:pt idx="237">
                  <c:v>2.2968968922980002</c:v>
                </c:pt>
                <c:pt idx="238">
                  <c:v>9.1865325432909994</c:v>
                </c:pt>
                <c:pt idx="239">
                  <c:v>6.8880011020799996</c:v>
                </c:pt>
                <c:pt idx="240">
                  <c:v>4.5908412716629998</c:v>
                </c:pt>
                <c:pt idx="241">
                  <c:v>18.353675323482999</c:v>
                </c:pt>
                <c:pt idx="242">
                  <c:v>4.5862092687280001</c:v>
                </c:pt>
                <c:pt idx="243">
                  <c:v>11.464997363049999</c:v>
                </c:pt>
                <c:pt idx="244">
                  <c:v>2.292946895349</c:v>
                </c:pt>
                <c:pt idx="245">
                  <c:v>0</c:v>
                </c:pt>
                <c:pt idx="246">
                  <c:v>4.5832664940300001</c:v>
                </c:pt>
                <c:pt idx="247">
                  <c:v>9.1652727814309998</c:v>
                </c:pt>
                <c:pt idx="248">
                  <c:v>11.449769859625</c:v>
                </c:pt>
                <c:pt idx="249">
                  <c:v>11.443218748569</c:v>
                </c:pt>
                <c:pt idx="250">
                  <c:v>2.2885389967040002</c:v>
                </c:pt>
                <c:pt idx="251">
                  <c:v>2.288381885168</c:v>
                </c:pt>
                <c:pt idx="252">
                  <c:v>6.8634179821550001</c:v>
                </c:pt>
                <c:pt idx="253">
                  <c:v>16.014641958361</c:v>
                </c:pt>
                <c:pt idx="254">
                  <c:v>13.718362027573001</c:v>
                </c:pt>
                <c:pt idx="255">
                  <c:v>9.1430661272249996</c:v>
                </c:pt>
                <c:pt idx="256">
                  <c:v>11.424393364712</c:v>
                </c:pt>
                <c:pt idx="257">
                  <c:v>11.424393364712</c:v>
                </c:pt>
                <c:pt idx="258">
                  <c:v>13.709272037653999</c:v>
                </c:pt>
                <c:pt idx="259">
                  <c:v>29.699351183404001</c:v>
                </c:pt>
                <c:pt idx="260">
                  <c:v>27.404768429705999</c:v>
                </c:pt>
                <c:pt idx="261">
                  <c:v>25.114728646772001</c:v>
                </c:pt>
                <c:pt idx="262">
                  <c:v>22.822713164140001</c:v>
                </c:pt>
                <c:pt idx="263">
                  <c:v>25.099828864803001</c:v>
                </c:pt>
                <c:pt idx="264">
                  <c:v>20.535755031259001</c:v>
                </c:pt>
                <c:pt idx="265">
                  <c:v>18.254004472230999</c:v>
                </c:pt>
                <c:pt idx="266">
                  <c:v>50.174470317238999</c:v>
                </c:pt>
                <c:pt idx="267">
                  <c:v>38.764992931088997</c:v>
                </c:pt>
                <c:pt idx="268">
                  <c:v>38.75968992248</c:v>
                </c:pt>
                <c:pt idx="269">
                  <c:v>34.192710114203003</c:v>
                </c:pt>
                <c:pt idx="270">
                  <c:v>68.358929954882996</c:v>
                </c:pt>
                <c:pt idx="271">
                  <c:v>34.175571301632999</c:v>
                </c:pt>
                <c:pt idx="272">
                  <c:v>36.453112184452003</c:v>
                </c:pt>
                <c:pt idx="273">
                  <c:v>100.218658892128</c:v>
                </c:pt>
                <c:pt idx="274">
                  <c:v>61.493611497026997</c:v>
                </c:pt>
                <c:pt idx="275">
                  <c:v>61.476809581273997</c:v>
                </c:pt>
                <c:pt idx="276">
                  <c:v>45.522829699093997</c:v>
                </c:pt>
                <c:pt idx="277">
                  <c:v>63.695716463067001</c:v>
                </c:pt>
                <c:pt idx="278">
                  <c:v>40.940726925351001</c:v>
                </c:pt>
                <c:pt idx="279">
                  <c:v>34.116496463255999</c:v>
                </c:pt>
                <c:pt idx="280">
                  <c:v>88.670622740604003</c:v>
                </c:pt>
                <c:pt idx="281">
                  <c:v>90.907024840343993</c:v>
                </c:pt>
                <c:pt idx="282">
                  <c:v>81.771720613287002</c:v>
                </c:pt>
                <c:pt idx="283">
                  <c:v>81.766148814389993</c:v>
                </c:pt>
                <c:pt idx="284">
                  <c:v>79.471401648463001</c:v>
                </c:pt>
                <c:pt idx="285">
                  <c:v>84.001180557132002</c:v>
                </c:pt>
                <c:pt idx="286">
                  <c:v>43.132803632235998</c:v>
                </c:pt>
                <c:pt idx="287">
                  <c:v>99.832100558152007</c:v>
                </c:pt>
                <c:pt idx="288">
                  <c:v>90.723520072577998</c:v>
                </c:pt>
                <c:pt idx="289">
                  <c:v>65.750691515892996</c:v>
                </c:pt>
                <c:pt idx="290">
                  <c:v>83.846990572877999</c:v>
                </c:pt>
                <c:pt idx="291">
                  <c:v>117.73762622832</c:v>
                </c:pt>
                <c:pt idx="292">
                  <c:v>72.435882925504004</c:v>
                </c:pt>
                <c:pt idx="293">
                  <c:v>43.000045263205003</c:v>
                </c:pt>
                <c:pt idx="294">
                  <c:v>106.327624821844</c:v>
                </c:pt>
                <c:pt idx="295">
                  <c:v>128.915526405066</c:v>
                </c:pt>
                <c:pt idx="296">
                  <c:v>74.611680119377993</c:v>
                </c:pt>
                <c:pt idx="297">
                  <c:v>101.67653305617</c:v>
                </c:pt>
                <c:pt idx="298">
                  <c:v>94.844522728811995</c:v>
                </c:pt>
                <c:pt idx="299">
                  <c:v>63.219688417249003</c:v>
                </c:pt>
                <c:pt idx="300">
                  <c:v>76.761565032849006</c:v>
                </c:pt>
                <c:pt idx="301">
                  <c:v>112.818430018727</c:v>
                </c:pt>
                <c:pt idx="302">
                  <c:v>90.189623683795006</c:v>
                </c:pt>
                <c:pt idx="303">
                  <c:v>99.195166490068999</c:v>
                </c:pt>
                <c:pt idx="304">
                  <c:v>72.104551599819004</c:v>
                </c:pt>
                <c:pt idx="305">
                  <c:v>90.053581881219003</c:v>
                </c:pt>
                <c:pt idx="306">
                  <c:v>36.017378385070003</c:v>
                </c:pt>
                <c:pt idx="307">
                  <c:v>33.760972316001997</c:v>
                </c:pt>
                <c:pt idx="308">
                  <c:v>83.219000922155999</c:v>
                </c:pt>
                <c:pt idx="309">
                  <c:v>80.924335746077006</c:v>
                </c:pt>
                <c:pt idx="310">
                  <c:v>56.146970309482001</c:v>
                </c:pt>
                <c:pt idx="311">
                  <c:v>53.852712830408002</c:v>
                </c:pt>
                <c:pt idx="312">
                  <c:v>51.559102423276997</c:v>
                </c:pt>
                <c:pt idx="313">
                  <c:v>35.861574323112002</c:v>
                </c:pt>
                <c:pt idx="314">
                  <c:v>20.170327207530001</c:v>
                </c:pt>
                <c:pt idx="315">
                  <c:v>49.280946194165999</c:v>
                </c:pt>
                <c:pt idx="316">
                  <c:v>47.015627098910997</c:v>
                </c:pt>
                <c:pt idx="317">
                  <c:v>38.038978765298999</c:v>
                </c:pt>
                <c:pt idx="318">
                  <c:v>24.602997092372998</c:v>
                </c:pt>
                <c:pt idx="319">
                  <c:v>40.232454179704</c:v>
                </c:pt>
                <c:pt idx="320">
                  <c:v>29.053525533578998</c:v>
                </c:pt>
                <c:pt idx="321">
                  <c:v>24.582104228121</c:v>
                </c:pt>
                <c:pt idx="322">
                  <c:v>40.210883745867001</c:v>
                </c:pt>
                <c:pt idx="323">
                  <c:v>40.183953208018004</c:v>
                </c:pt>
                <c:pt idx="324">
                  <c:v>33.477659242065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5C3-4E3F-BFF5-5996318E7C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42360815"/>
        <c:axId val="692383071"/>
      </c:lineChart>
      <c:dateAx>
        <c:axId val="442360815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692383071"/>
        <c:crosses val="autoZero"/>
        <c:auto val="1"/>
        <c:lblOffset val="100"/>
        <c:baseTimeUnit val="days"/>
      </c:dateAx>
      <c:valAx>
        <c:axId val="692383071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sz="1800" b="0" i="0" baseline="0" dirty="0">
                    <a:effectLst/>
                  </a:rPr>
                  <a:t>Počet nově pozitivních na 100 tis. dané kategorie v populaci v daném dni</a:t>
                </a:r>
                <a:endParaRPr lang="cs-CZ" dirty="0">
                  <a:effectLst/>
                </a:endParaRPr>
              </a:p>
            </c:rich>
          </c:tx>
          <c:layout>
            <c:manualLayout>
              <c:xMode val="edge"/>
              <c:yMode val="edge"/>
              <c:x val="2.72039458206043E-2"/>
              <c:y val="0.1226784091670097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423608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527928087982371"/>
          <c:y val="2.4852292975710399E-2"/>
          <c:w val="0.87466795309236889"/>
          <c:h val="0.90552881115878769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Bez očkování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trendline>
            <c:spPr>
              <a:ln w="31750" cap="rnd" cmpd="sng">
                <a:solidFill>
                  <a:srgbClr val="C00000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A$2:$A$326</c:f>
              <c:numCache>
                <c:formatCode>m/d/yyyy</c:formatCode>
                <c:ptCount val="325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  <c:pt idx="168">
                  <c:v>44396</c:v>
                </c:pt>
                <c:pt idx="169">
                  <c:v>44397</c:v>
                </c:pt>
                <c:pt idx="170">
                  <c:v>44398</c:v>
                </c:pt>
                <c:pt idx="171">
                  <c:v>44399</c:v>
                </c:pt>
                <c:pt idx="172">
                  <c:v>44400</c:v>
                </c:pt>
                <c:pt idx="173">
                  <c:v>44401</c:v>
                </c:pt>
                <c:pt idx="174">
                  <c:v>44402</c:v>
                </c:pt>
                <c:pt idx="175">
                  <c:v>44403</c:v>
                </c:pt>
                <c:pt idx="176">
                  <c:v>44404</c:v>
                </c:pt>
                <c:pt idx="177">
                  <c:v>44405</c:v>
                </c:pt>
                <c:pt idx="178">
                  <c:v>44406</c:v>
                </c:pt>
                <c:pt idx="179">
                  <c:v>44407</c:v>
                </c:pt>
                <c:pt idx="180">
                  <c:v>44408</c:v>
                </c:pt>
                <c:pt idx="181">
                  <c:v>44409</c:v>
                </c:pt>
                <c:pt idx="182">
                  <c:v>44410</c:v>
                </c:pt>
                <c:pt idx="183">
                  <c:v>44411</c:v>
                </c:pt>
                <c:pt idx="184">
                  <c:v>44412</c:v>
                </c:pt>
                <c:pt idx="185">
                  <c:v>44413</c:v>
                </c:pt>
                <c:pt idx="186">
                  <c:v>44414</c:v>
                </c:pt>
                <c:pt idx="187">
                  <c:v>44415</c:v>
                </c:pt>
                <c:pt idx="188">
                  <c:v>44416</c:v>
                </c:pt>
                <c:pt idx="189">
                  <c:v>44417</c:v>
                </c:pt>
                <c:pt idx="190">
                  <c:v>44418</c:v>
                </c:pt>
                <c:pt idx="191">
                  <c:v>44419</c:v>
                </c:pt>
                <c:pt idx="192">
                  <c:v>44420</c:v>
                </c:pt>
                <c:pt idx="193">
                  <c:v>44421</c:v>
                </c:pt>
                <c:pt idx="194">
                  <c:v>44422</c:v>
                </c:pt>
                <c:pt idx="195">
                  <c:v>44423</c:v>
                </c:pt>
                <c:pt idx="196">
                  <c:v>44424</c:v>
                </c:pt>
                <c:pt idx="197">
                  <c:v>44425</c:v>
                </c:pt>
                <c:pt idx="198">
                  <c:v>44426</c:v>
                </c:pt>
                <c:pt idx="199">
                  <c:v>44427</c:v>
                </c:pt>
                <c:pt idx="200">
                  <c:v>44428</c:v>
                </c:pt>
                <c:pt idx="201">
                  <c:v>44429</c:v>
                </c:pt>
                <c:pt idx="202">
                  <c:v>44430</c:v>
                </c:pt>
                <c:pt idx="203">
                  <c:v>44431</c:v>
                </c:pt>
                <c:pt idx="204">
                  <c:v>44432</c:v>
                </c:pt>
                <c:pt idx="205">
                  <c:v>44433</c:v>
                </c:pt>
                <c:pt idx="206">
                  <c:v>44434</c:v>
                </c:pt>
                <c:pt idx="207">
                  <c:v>44435</c:v>
                </c:pt>
                <c:pt idx="208">
                  <c:v>44436</c:v>
                </c:pt>
                <c:pt idx="209">
                  <c:v>44437</c:v>
                </c:pt>
                <c:pt idx="210">
                  <c:v>44438</c:v>
                </c:pt>
                <c:pt idx="211">
                  <c:v>44439</c:v>
                </c:pt>
                <c:pt idx="212">
                  <c:v>44440</c:v>
                </c:pt>
                <c:pt idx="213">
                  <c:v>44441</c:v>
                </c:pt>
                <c:pt idx="214">
                  <c:v>44442</c:v>
                </c:pt>
                <c:pt idx="215">
                  <c:v>44443</c:v>
                </c:pt>
                <c:pt idx="216">
                  <c:v>44444</c:v>
                </c:pt>
                <c:pt idx="217">
                  <c:v>44445</c:v>
                </c:pt>
                <c:pt idx="218">
                  <c:v>44446</c:v>
                </c:pt>
                <c:pt idx="219">
                  <c:v>44447</c:v>
                </c:pt>
                <c:pt idx="220">
                  <c:v>44448</c:v>
                </c:pt>
                <c:pt idx="221">
                  <c:v>44449</c:v>
                </c:pt>
                <c:pt idx="222">
                  <c:v>44450</c:v>
                </c:pt>
                <c:pt idx="223">
                  <c:v>44451</c:v>
                </c:pt>
                <c:pt idx="224">
                  <c:v>44452</c:v>
                </c:pt>
                <c:pt idx="225">
                  <c:v>44453</c:v>
                </c:pt>
                <c:pt idx="226">
                  <c:v>44454</c:v>
                </c:pt>
                <c:pt idx="227">
                  <c:v>44455</c:v>
                </c:pt>
                <c:pt idx="228">
                  <c:v>44456</c:v>
                </c:pt>
                <c:pt idx="229">
                  <c:v>44457</c:v>
                </c:pt>
                <c:pt idx="230">
                  <c:v>44458</c:v>
                </c:pt>
                <c:pt idx="231">
                  <c:v>44459</c:v>
                </c:pt>
                <c:pt idx="232">
                  <c:v>44460</c:v>
                </c:pt>
                <c:pt idx="233">
                  <c:v>44461</c:v>
                </c:pt>
                <c:pt idx="234">
                  <c:v>44462</c:v>
                </c:pt>
                <c:pt idx="235">
                  <c:v>44463</c:v>
                </c:pt>
                <c:pt idx="236">
                  <c:v>44464</c:v>
                </c:pt>
                <c:pt idx="237">
                  <c:v>44465</c:v>
                </c:pt>
                <c:pt idx="238">
                  <c:v>44466</c:v>
                </c:pt>
                <c:pt idx="239">
                  <c:v>44467</c:v>
                </c:pt>
                <c:pt idx="240">
                  <c:v>44468</c:v>
                </c:pt>
                <c:pt idx="241">
                  <c:v>44469</c:v>
                </c:pt>
                <c:pt idx="242">
                  <c:v>44470</c:v>
                </c:pt>
                <c:pt idx="243">
                  <c:v>44471</c:v>
                </c:pt>
                <c:pt idx="244">
                  <c:v>44472</c:v>
                </c:pt>
                <c:pt idx="245">
                  <c:v>44473</c:v>
                </c:pt>
                <c:pt idx="246">
                  <c:v>44474</c:v>
                </c:pt>
                <c:pt idx="247">
                  <c:v>44475</c:v>
                </c:pt>
                <c:pt idx="248">
                  <c:v>44476</c:v>
                </c:pt>
                <c:pt idx="249">
                  <c:v>44477</c:v>
                </c:pt>
                <c:pt idx="250">
                  <c:v>44478</c:v>
                </c:pt>
                <c:pt idx="251">
                  <c:v>44479</c:v>
                </c:pt>
                <c:pt idx="252">
                  <c:v>44480</c:v>
                </c:pt>
                <c:pt idx="253">
                  <c:v>44481</c:v>
                </c:pt>
                <c:pt idx="254">
                  <c:v>44482</c:v>
                </c:pt>
                <c:pt idx="255">
                  <c:v>44483</c:v>
                </c:pt>
                <c:pt idx="256">
                  <c:v>44484</c:v>
                </c:pt>
                <c:pt idx="257">
                  <c:v>44485</c:v>
                </c:pt>
                <c:pt idx="258">
                  <c:v>44486</c:v>
                </c:pt>
                <c:pt idx="259">
                  <c:v>44487</c:v>
                </c:pt>
                <c:pt idx="260">
                  <c:v>44488</c:v>
                </c:pt>
                <c:pt idx="261">
                  <c:v>44489</c:v>
                </c:pt>
                <c:pt idx="262">
                  <c:v>44490</c:v>
                </c:pt>
                <c:pt idx="263">
                  <c:v>44491</c:v>
                </c:pt>
                <c:pt idx="264">
                  <c:v>44492</c:v>
                </c:pt>
                <c:pt idx="265">
                  <c:v>44493</c:v>
                </c:pt>
                <c:pt idx="266">
                  <c:v>44494</c:v>
                </c:pt>
                <c:pt idx="267">
                  <c:v>44495</c:v>
                </c:pt>
                <c:pt idx="268">
                  <c:v>44496</c:v>
                </c:pt>
                <c:pt idx="269">
                  <c:v>44497</c:v>
                </c:pt>
                <c:pt idx="270">
                  <c:v>44498</c:v>
                </c:pt>
                <c:pt idx="271">
                  <c:v>44499</c:v>
                </c:pt>
                <c:pt idx="272">
                  <c:v>44500</c:v>
                </c:pt>
                <c:pt idx="273">
                  <c:v>44501</c:v>
                </c:pt>
                <c:pt idx="274">
                  <c:v>44502</c:v>
                </c:pt>
                <c:pt idx="275">
                  <c:v>44503</c:v>
                </c:pt>
                <c:pt idx="276">
                  <c:v>44504</c:v>
                </c:pt>
                <c:pt idx="277">
                  <c:v>44505</c:v>
                </c:pt>
                <c:pt idx="278">
                  <c:v>44506</c:v>
                </c:pt>
                <c:pt idx="279">
                  <c:v>44507</c:v>
                </c:pt>
                <c:pt idx="280">
                  <c:v>44508</c:v>
                </c:pt>
                <c:pt idx="281">
                  <c:v>44509</c:v>
                </c:pt>
                <c:pt idx="282">
                  <c:v>44510</c:v>
                </c:pt>
                <c:pt idx="283">
                  <c:v>44511</c:v>
                </c:pt>
                <c:pt idx="284">
                  <c:v>44512</c:v>
                </c:pt>
                <c:pt idx="285">
                  <c:v>44513</c:v>
                </c:pt>
                <c:pt idx="286">
                  <c:v>44514</c:v>
                </c:pt>
                <c:pt idx="287">
                  <c:v>44515</c:v>
                </c:pt>
                <c:pt idx="288">
                  <c:v>44516</c:v>
                </c:pt>
                <c:pt idx="289">
                  <c:v>44517</c:v>
                </c:pt>
                <c:pt idx="290">
                  <c:v>44518</c:v>
                </c:pt>
                <c:pt idx="291">
                  <c:v>44519</c:v>
                </c:pt>
                <c:pt idx="292">
                  <c:v>44520</c:v>
                </c:pt>
                <c:pt idx="293">
                  <c:v>44521</c:v>
                </c:pt>
                <c:pt idx="294">
                  <c:v>44522</c:v>
                </c:pt>
                <c:pt idx="295">
                  <c:v>44523</c:v>
                </c:pt>
                <c:pt idx="296">
                  <c:v>44524</c:v>
                </c:pt>
                <c:pt idx="297">
                  <c:v>44525</c:v>
                </c:pt>
                <c:pt idx="298">
                  <c:v>44526</c:v>
                </c:pt>
                <c:pt idx="299">
                  <c:v>44527</c:v>
                </c:pt>
                <c:pt idx="300">
                  <c:v>44528</c:v>
                </c:pt>
                <c:pt idx="301">
                  <c:v>44529</c:v>
                </c:pt>
                <c:pt idx="302">
                  <c:v>44530</c:v>
                </c:pt>
                <c:pt idx="303">
                  <c:v>44531</c:v>
                </c:pt>
                <c:pt idx="304">
                  <c:v>44532</c:v>
                </c:pt>
                <c:pt idx="305">
                  <c:v>44533</c:v>
                </c:pt>
                <c:pt idx="306">
                  <c:v>44534</c:v>
                </c:pt>
                <c:pt idx="307">
                  <c:v>44535</c:v>
                </c:pt>
                <c:pt idx="308">
                  <c:v>44536</c:v>
                </c:pt>
                <c:pt idx="309">
                  <c:v>44537</c:v>
                </c:pt>
                <c:pt idx="310">
                  <c:v>44538</c:v>
                </c:pt>
                <c:pt idx="311">
                  <c:v>44539</c:v>
                </c:pt>
                <c:pt idx="312">
                  <c:v>44540</c:v>
                </c:pt>
                <c:pt idx="313">
                  <c:v>44541</c:v>
                </c:pt>
                <c:pt idx="314">
                  <c:v>44542</c:v>
                </c:pt>
                <c:pt idx="315">
                  <c:v>44543</c:v>
                </c:pt>
                <c:pt idx="316">
                  <c:v>44544</c:v>
                </c:pt>
                <c:pt idx="317">
                  <c:v>44545</c:v>
                </c:pt>
                <c:pt idx="318">
                  <c:v>44546</c:v>
                </c:pt>
                <c:pt idx="319">
                  <c:v>44547</c:v>
                </c:pt>
                <c:pt idx="320">
                  <c:v>44548</c:v>
                </c:pt>
                <c:pt idx="321">
                  <c:v>44549</c:v>
                </c:pt>
                <c:pt idx="322">
                  <c:v>44550</c:v>
                </c:pt>
                <c:pt idx="323">
                  <c:v>44551</c:v>
                </c:pt>
                <c:pt idx="324">
                  <c:v>44552</c:v>
                </c:pt>
              </c:numCache>
            </c:numRef>
          </c:cat>
          <c:val>
            <c:numRef>
              <c:f>List1!$B$2:$B$326</c:f>
              <c:numCache>
                <c:formatCode>General</c:formatCode>
                <c:ptCount val="325"/>
                <c:pt idx="0">
                  <c:v>125.258100186908</c:v>
                </c:pt>
                <c:pt idx="1">
                  <c:v>111.433248525728</c:v>
                </c:pt>
                <c:pt idx="2">
                  <c:v>135.19155450406501</c:v>
                </c:pt>
                <c:pt idx="3">
                  <c:v>109.97800439912</c:v>
                </c:pt>
                <c:pt idx="4">
                  <c:v>110.36863122830199</c:v>
                </c:pt>
                <c:pt idx="5">
                  <c:v>54.359315072629997</c:v>
                </c:pt>
                <c:pt idx="6">
                  <c:v>30.285898885478002</c:v>
                </c:pt>
                <c:pt idx="7">
                  <c:v>131.65414761593701</c:v>
                </c:pt>
                <c:pt idx="8">
                  <c:v>121.154383821229</c:v>
                </c:pt>
                <c:pt idx="9">
                  <c:v>108.398231951168</c:v>
                </c:pt>
                <c:pt idx="10">
                  <c:v>116.06538349937099</c:v>
                </c:pt>
                <c:pt idx="11">
                  <c:v>112.646191564788</c:v>
                </c:pt>
                <c:pt idx="12">
                  <c:v>55.350145017378999</c:v>
                </c:pt>
                <c:pt idx="13">
                  <c:v>29.956396800213</c:v>
                </c:pt>
                <c:pt idx="14">
                  <c:v>142.15045203843701</c:v>
                </c:pt>
                <c:pt idx="15">
                  <c:v>138.29799702307699</c:v>
                </c:pt>
                <c:pt idx="16">
                  <c:v>137.347742798279</c:v>
                </c:pt>
                <c:pt idx="17">
                  <c:v>133.22874254479299</c:v>
                </c:pt>
                <c:pt idx="18">
                  <c:v>157.49039692701601</c:v>
                </c:pt>
                <c:pt idx="19">
                  <c:v>73.261014857847002</c:v>
                </c:pt>
                <c:pt idx="20">
                  <c:v>42.550996724862003</c:v>
                </c:pt>
                <c:pt idx="21">
                  <c:v>162.43198985790499</c:v>
                </c:pt>
                <c:pt idx="22">
                  <c:v>204.987120874971</c:v>
                </c:pt>
                <c:pt idx="23">
                  <c:v>170.62498279990001</c:v>
                </c:pt>
                <c:pt idx="24">
                  <c:v>175.38936438894299</c:v>
                </c:pt>
                <c:pt idx="25">
                  <c:v>195.77581525622301</c:v>
                </c:pt>
                <c:pt idx="26">
                  <c:v>103.11197674252</c:v>
                </c:pt>
                <c:pt idx="27">
                  <c:v>50.159075926508997</c:v>
                </c:pt>
                <c:pt idx="28">
                  <c:v>168.24029355030501</c:v>
                </c:pt>
                <c:pt idx="29">
                  <c:v>200.585651537335</c:v>
                </c:pt>
                <c:pt idx="30">
                  <c:v>165.43085876340399</c:v>
                </c:pt>
                <c:pt idx="31">
                  <c:v>164.13990688790699</c:v>
                </c:pt>
                <c:pt idx="32">
                  <c:v>164.02323411683199</c:v>
                </c:pt>
                <c:pt idx="33">
                  <c:v>91.827364554637001</c:v>
                </c:pt>
                <c:pt idx="34">
                  <c:v>55.722891566264998</c:v>
                </c:pt>
                <c:pt idx="35">
                  <c:v>157.561433809047</c:v>
                </c:pt>
                <c:pt idx="36">
                  <c:v>169.37255859375</c:v>
                </c:pt>
                <c:pt idx="37">
                  <c:v>185.64546319310099</c:v>
                </c:pt>
                <c:pt idx="38">
                  <c:v>131.11820691995601</c:v>
                </c:pt>
                <c:pt idx="39">
                  <c:v>161.58853964357201</c:v>
                </c:pt>
                <c:pt idx="40">
                  <c:v>74.586279232381997</c:v>
                </c:pt>
                <c:pt idx="41">
                  <c:v>45.062543702897003</c:v>
                </c:pt>
                <c:pt idx="42">
                  <c:v>154.30896083046201</c:v>
                </c:pt>
                <c:pt idx="43">
                  <c:v>142.38996072540601</c:v>
                </c:pt>
                <c:pt idx="44">
                  <c:v>143.06151645207399</c:v>
                </c:pt>
                <c:pt idx="45">
                  <c:v>127.905507832238</c:v>
                </c:pt>
                <c:pt idx="46">
                  <c:v>120.765270450645</c:v>
                </c:pt>
                <c:pt idx="47">
                  <c:v>44.496003305416998</c:v>
                </c:pt>
                <c:pt idx="48">
                  <c:v>34.964479267652997</c:v>
                </c:pt>
                <c:pt idx="49">
                  <c:v>145.390637482025</c:v>
                </c:pt>
                <c:pt idx="50">
                  <c:v>101.15282103978601</c:v>
                </c:pt>
                <c:pt idx="51">
                  <c:v>104.984333107213</c:v>
                </c:pt>
                <c:pt idx="52">
                  <c:v>76.598380025750004</c:v>
                </c:pt>
                <c:pt idx="53">
                  <c:v>87.262908324552001</c:v>
                </c:pt>
                <c:pt idx="54">
                  <c:v>44.500115370669</c:v>
                </c:pt>
                <c:pt idx="55">
                  <c:v>23.098498597591</c:v>
                </c:pt>
                <c:pt idx="56">
                  <c:v>86.493679308050005</c:v>
                </c:pt>
                <c:pt idx="57">
                  <c:v>88.853124109372999</c:v>
                </c:pt>
                <c:pt idx="58">
                  <c:v>59.234687833194997</c:v>
                </c:pt>
                <c:pt idx="59">
                  <c:v>83.855289728581994</c:v>
                </c:pt>
                <c:pt idx="60">
                  <c:v>43.392984222309998</c:v>
                </c:pt>
                <c:pt idx="61">
                  <c:v>36.479866587916</c:v>
                </c:pt>
                <c:pt idx="62">
                  <c:v>39.966636546882</c:v>
                </c:pt>
                <c:pt idx="63">
                  <c:v>38.608683443894002</c:v>
                </c:pt>
                <c:pt idx="64">
                  <c:v>113.402792543766</c:v>
                </c:pt>
                <c:pt idx="65">
                  <c:v>85.930646807138999</c:v>
                </c:pt>
                <c:pt idx="66">
                  <c:v>61.647809689585003</c:v>
                </c:pt>
                <c:pt idx="67">
                  <c:v>47.880372730285998</c:v>
                </c:pt>
                <c:pt idx="68">
                  <c:v>22.145533061435</c:v>
                </c:pt>
                <c:pt idx="69">
                  <c:v>14.774595083753001</c:v>
                </c:pt>
                <c:pt idx="70">
                  <c:v>35.502074068536999</c:v>
                </c:pt>
                <c:pt idx="71">
                  <c:v>49.204216422853001</c:v>
                </c:pt>
                <c:pt idx="72">
                  <c:v>44.130626654898002</c:v>
                </c:pt>
                <c:pt idx="73">
                  <c:v>37.099955089528002</c:v>
                </c:pt>
                <c:pt idx="74">
                  <c:v>45.173328095846003</c:v>
                </c:pt>
                <c:pt idx="75">
                  <c:v>11.820330969266999</c:v>
                </c:pt>
                <c:pt idx="76">
                  <c:v>9.8753727953230008</c:v>
                </c:pt>
                <c:pt idx="77">
                  <c:v>51.455599754596001</c:v>
                </c:pt>
                <c:pt idx="78">
                  <c:v>46.369098020240997</c:v>
                </c:pt>
                <c:pt idx="79">
                  <c:v>34.760561076350001</c:v>
                </c:pt>
                <c:pt idx="80">
                  <c:v>24.919013207075999</c:v>
                </c:pt>
                <c:pt idx="81">
                  <c:v>19.011005259710998</c:v>
                </c:pt>
                <c:pt idx="82">
                  <c:v>16.989466530750001</c:v>
                </c:pt>
                <c:pt idx="83">
                  <c:v>6.3878715611950003</c:v>
                </c:pt>
                <c:pt idx="84">
                  <c:v>21.514629948364</c:v>
                </c:pt>
                <c:pt idx="85">
                  <c:v>21.773210242118001</c:v>
                </c:pt>
                <c:pt idx="86">
                  <c:v>13.222849083214999</c:v>
                </c:pt>
                <c:pt idx="87">
                  <c:v>31.191515907673001</c:v>
                </c:pt>
                <c:pt idx="88">
                  <c:v>27.102719306169998</c:v>
                </c:pt>
                <c:pt idx="89">
                  <c:v>6.7902492021449996</c:v>
                </c:pt>
                <c:pt idx="90">
                  <c:v>6.8062708442039996</c:v>
                </c:pt>
                <c:pt idx="91">
                  <c:v>36.588991287246003</c:v>
                </c:pt>
                <c:pt idx="92">
                  <c:v>18.415358408913001</c:v>
                </c:pt>
                <c:pt idx="93">
                  <c:v>16.204078798120001</c:v>
                </c:pt>
                <c:pt idx="94">
                  <c:v>11.652838631490001</c:v>
                </c:pt>
                <c:pt idx="95">
                  <c:v>35.147737657286001</c:v>
                </c:pt>
                <c:pt idx="96">
                  <c:v>11.731030922997</c:v>
                </c:pt>
                <c:pt idx="97">
                  <c:v>7.051688879486</c:v>
                </c:pt>
                <c:pt idx="98">
                  <c:v>23.589912953220999</c:v>
                </c:pt>
                <c:pt idx="99">
                  <c:v>42.627764884194001</c:v>
                </c:pt>
                <c:pt idx="100">
                  <c:v>9.5197296396779993</c:v>
                </c:pt>
                <c:pt idx="101">
                  <c:v>16.736801836266</c:v>
                </c:pt>
                <c:pt idx="102">
                  <c:v>14.414414414414001</c:v>
                </c:pt>
                <c:pt idx="103">
                  <c:v>0</c:v>
                </c:pt>
                <c:pt idx="104">
                  <c:v>2.4055809477980001</c:v>
                </c:pt>
                <c:pt idx="105">
                  <c:v>9.6432015429119993</c:v>
                </c:pt>
                <c:pt idx="106">
                  <c:v>4.8308011883770003</c:v>
                </c:pt>
                <c:pt idx="107">
                  <c:v>4.8462526351489998</c:v>
                </c:pt>
                <c:pt idx="108">
                  <c:v>9.7304660893250006</c:v>
                </c:pt>
                <c:pt idx="109">
                  <c:v>4.8844820006829996</c:v>
                </c:pt>
                <c:pt idx="110">
                  <c:v>7.3294080281439999</c:v>
                </c:pt>
                <c:pt idx="111">
                  <c:v>0</c:v>
                </c:pt>
                <c:pt idx="112">
                  <c:v>4.8999191513340001</c:v>
                </c:pt>
                <c:pt idx="113">
                  <c:v>12.274155538098</c:v>
                </c:pt>
                <c:pt idx="114">
                  <c:v>14.785608674223001</c:v>
                </c:pt>
                <c:pt idx="115">
                  <c:v>7.4174805291129999</c:v>
                </c:pt>
                <c:pt idx="116">
                  <c:v>4.9646270323939996</c:v>
                </c:pt>
                <c:pt idx="117">
                  <c:v>0</c:v>
                </c:pt>
                <c:pt idx="118">
                  <c:v>0</c:v>
                </c:pt>
                <c:pt idx="119">
                  <c:v>7.5050659194950002</c:v>
                </c:pt>
                <c:pt idx="120">
                  <c:v>2.5184476288809998</c:v>
                </c:pt>
                <c:pt idx="121">
                  <c:v>0</c:v>
                </c:pt>
                <c:pt idx="122">
                  <c:v>10.236986231253001</c:v>
                </c:pt>
                <c:pt idx="123">
                  <c:v>2.58324507246</c:v>
                </c:pt>
                <c:pt idx="124">
                  <c:v>0</c:v>
                </c:pt>
                <c:pt idx="125">
                  <c:v>2.5897342932609999</c:v>
                </c:pt>
                <c:pt idx="126">
                  <c:v>2.6081740173700001</c:v>
                </c:pt>
                <c:pt idx="127">
                  <c:v>0</c:v>
                </c:pt>
                <c:pt idx="128">
                  <c:v>2.6451527575710001</c:v>
                </c:pt>
                <c:pt idx="129">
                  <c:v>2.671439638821</c:v>
                </c:pt>
                <c:pt idx="131">
                  <c:v>2.7100271002710001</c:v>
                </c:pt>
                <c:pt idx="132">
                  <c:v>2.7165792833659999</c:v>
                </c:pt>
                <c:pt idx="133">
                  <c:v>2.7334353815869998</c:v>
                </c:pt>
                <c:pt idx="135">
                  <c:v>0</c:v>
                </c:pt>
                <c:pt idx="136">
                  <c:v>5.5867482331899998</c:v>
                </c:pt>
                <c:pt idx="137">
                  <c:v>8.4580901632409997</c:v>
                </c:pt>
                <c:pt idx="138">
                  <c:v>0</c:v>
                </c:pt>
                <c:pt idx="139">
                  <c:v>0</c:v>
                </c:pt>
                <c:pt idx="141">
                  <c:v>0</c:v>
                </c:pt>
                <c:pt idx="142">
                  <c:v>5.7648516991900003</c:v>
                </c:pt>
                <c:pt idx="143">
                  <c:v>2.902589109485</c:v>
                </c:pt>
                <c:pt idx="145">
                  <c:v>0</c:v>
                </c:pt>
                <c:pt idx="146">
                  <c:v>2.939274587031</c:v>
                </c:pt>
                <c:pt idx="147">
                  <c:v>0</c:v>
                </c:pt>
                <c:pt idx="148">
                  <c:v>5.9468942344859999</c:v>
                </c:pt>
                <c:pt idx="150">
                  <c:v>3.0126833971010001</c:v>
                </c:pt>
                <c:pt idx="151">
                  <c:v>3.0341646944590002</c:v>
                </c:pt>
                <c:pt idx="153">
                  <c:v>3.0463656857360002</c:v>
                </c:pt>
                <c:pt idx="154">
                  <c:v>6.1240737338470002</c:v>
                </c:pt>
                <c:pt idx="155">
                  <c:v>0</c:v>
                </c:pt>
                <c:pt idx="156">
                  <c:v>0</c:v>
                </c:pt>
                <c:pt idx="157">
                  <c:v>0</c:v>
                </c:pt>
                <c:pt idx="158">
                  <c:v>3.144555202666</c:v>
                </c:pt>
                <c:pt idx="159">
                  <c:v>3.1490112104789998</c:v>
                </c:pt>
                <c:pt idx="161">
                  <c:v>3.1721862707769999</c:v>
                </c:pt>
                <c:pt idx="162">
                  <c:v>6.387735547748</c:v>
                </c:pt>
                <c:pt idx="163">
                  <c:v>3.2183316168889999</c:v>
                </c:pt>
                <c:pt idx="164">
                  <c:v>9.7295193617429998</c:v>
                </c:pt>
                <c:pt idx="165">
                  <c:v>0</c:v>
                </c:pt>
                <c:pt idx="166">
                  <c:v>0</c:v>
                </c:pt>
                <c:pt idx="167">
                  <c:v>6.546644844517</c:v>
                </c:pt>
                <c:pt idx="168">
                  <c:v>6.5528652403259997</c:v>
                </c:pt>
                <c:pt idx="169">
                  <c:v>3.2804093950920001</c:v>
                </c:pt>
                <c:pt idx="170">
                  <c:v>9.9032779850130002</c:v>
                </c:pt>
                <c:pt idx="171">
                  <c:v>0</c:v>
                </c:pt>
                <c:pt idx="172">
                  <c:v>6.6748990421509999</c:v>
                </c:pt>
                <c:pt idx="173">
                  <c:v>0</c:v>
                </c:pt>
                <c:pt idx="174">
                  <c:v>3.3486253892770002</c:v>
                </c:pt>
                <c:pt idx="175">
                  <c:v>3.3673435027099998</c:v>
                </c:pt>
                <c:pt idx="176">
                  <c:v>0</c:v>
                </c:pt>
                <c:pt idx="177">
                  <c:v>0</c:v>
                </c:pt>
                <c:pt idx="178">
                  <c:v>6.8547143297800002</c:v>
                </c:pt>
                <c:pt idx="179">
                  <c:v>0</c:v>
                </c:pt>
                <c:pt idx="180">
                  <c:v>3.4536349507850002</c:v>
                </c:pt>
                <c:pt idx="181">
                  <c:v>0</c:v>
                </c:pt>
                <c:pt idx="182">
                  <c:v>0</c:v>
                </c:pt>
                <c:pt idx="183">
                  <c:v>3.50569675723</c:v>
                </c:pt>
                <c:pt idx="184">
                  <c:v>3.528955076401</c:v>
                </c:pt>
                <c:pt idx="185">
                  <c:v>0</c:v>
                </c:pt>
                <c:pt idx="186">
                  <c:v>3.5773055734420001</c:v>
                </c:pt>
                <c:pt idx="187">
                  <c:v>0</c:v>
                </c:pt>
                <c:pt idx="188">
                  <c:v>0</c:v>
                </c:pt>
                <c:pt idx="189">
                  <c:v>7.225955632632</c:v>
                </c:pt>
                <c:pt idx="190">
                  <c:v>3.6351739430730001</c:v>
                </c:pt>
                <c:pt idx="191">
                  <c:v>3.6563071297979999</c:v>
                </c:pt>
                <c:pt idx="192">
                  <c:v>0</c:v>
                </c:pt>
                <c:pt idx="193">
                  <c:v>7.3863426524350002</c:v>
                </c:pt>
                <c:pt idx="194">
                  <c:v>7.4043908037459998</c:v>
                </c:pt>
                <c:pt idx="195">
                  <c:v>0</c:v>
                </c:pt>
                <c:pt idx="196">
                  <c:v>7.4451848267129996</c:v>
                </c:pt>
                <c:pt idx="197">
                  <c:v>7.4830695551310003</c:v>
                </c:pt>
                <c:pt idx="198">
                  <c:v>7.5216246709280004</c:v>
                </c:pt>
                <c:pt idx="199">
                  <c:v>0</c:v>
                </c:pt>
                <c:pt idx="200">
                  <c:v>0</c:v>
                </c:pt>
                <c:pt idx="201">
                  <c:v>0</c:v>
                </c:pt>
                <c:pt idx="202">
                  <c:v>0</c:v>
                </c:pt>
                <c:pt idx="203">
                  <c:v>11.519852545887</c:v>
                </c:pt>
                <c:pt idx="204">
                  <c:v>0</c:v>
                </c:pt>
                <c:pt idx="205">
                  <c:v>0</c:v>
                </c:pt>
                <c:pt idx="206">
                  <c:v>3.903962521959</c:v>
                </c:pt>
                <c:pt idx="207">
                  <c:v>0</c:v>
                </c:pt>
                <c:pt idx="208">
                  <c:v>7.8647267007470001</c:v>
                </c:pt>
                <c:pt idx="209">
                  <c:v>3.9382482671700001</c:v>
                </c:pt>
                <c:pt idx="210">
                  <c:v>0</c:v>
                </c:pt>
                <c:pt idx="211">
                  <c:v>0</c:v>
                </c:pt>
                <c:pt idx="212">
                  <c:v>0</c:v>
                </c:pt>
                <c:pt idx="213">
                  <c:v>16.090751840378999</c:v>
                </c:pt>
                <c:pt idx="214">
                  <c:v>8.0938891137189994</c:v>
                </c:pt>
                <c:pt idx="215">
                  <c:v>4.0489108429830001</c:v>
                </c:pt>
                <c:pt idx="216">
                  <c:v>0</c:v>
                </c:pt>
                <c:pt idx="217">
                  <c:v>4.0696727983069998</c:v>
                </c:pt>
                <c:pt idx="218">
                  <c:v>12.265423770390999</c:v>
                </c:pt>
                <c:pt idx="219">
                  <c:v>0</c:v>
                </c:pt>
                <c:pt idx="220">
                  <c:v>8.2423243354619995</c:v>
                </c:pt>
                <c:pt idx="221">
                  <c:v>0</c:v>
                </c:pt>
                <c:pt idx="222">
                  <c:v>0</c:v>
                </c:pt>
                <c:pt idx="223">
                  <c:v>4.137702747434</c:v>
                </c:pt>
                <c:pt idx="224">
                  <c:v>8.2932492950730001</c:v>
                </c:pt>
                <c:pt idx="225">
                  <c:v>12.468309712812999</c:v>
                </c:pt>
                <c:pt idx="226">
                  <c:v>8.3274347337299996</c:v>
                </c:pt>
                <c:pt idx="227">
                  <c:v>8.3444592790380003</c:v>
                </c:pt>
                <c:pt idx="228">
                  <c:v>20.907380305246999</c:v>
                </c:pt>
                <c:pt idx="229">
                  <c:v>4.1814760610489996</c:v>
                </c:pt>
                <c:pt idx="230">
                  <c:v>0</c:v>
                </c:pt>
                <c:pt idx="231">
                  <c:v>25.137207256273001</c:v>
                </c:pt>
                <c:pt idx="232">
                  <c:v>20.973154362416</c:v>
                </c:pt>
                <c:pt idx="233">
                  <c:v>16.802486768041</c:v>
                </c:pt>
                <c:pt idx="234">
                  <c:v>12.614582457319999</c:v>
                </c:pt>
                <c:pt idx="235">
                  <c:v>12.637964445193001</c:v>
                </c:pt>
                <c:pt idx="236">
                  <c:v>12.635835228708</c:v>
                </c:pt>
                <c:pt idx="237">
                  <c:v>12.632642748863001</c:v>
                </c:pt>
                <c:pt idx="238">
                  <c:v>8.4313477509370003</c:v>
                </c:pt>
                <c:pt idx="239">
                  <c:v>16.894032183130999</c:v>
                </c:pt>
                <c:pt idx="240">
                  <c:v>33.828068840119997</c:v>
                </c:pt>
                <c:pt idx="241">
                  <c:v>33.88538269304</c:v>
                </c:pt>
                <c:pt idx="242">
                  <c:v>25.458248472505002</c:v>
                </c:pt>
                <c:pt idx="243">
                  <c:v>12.733446519524</c:v>
                </c:pt>
                <c:pt idx="244">
                  <c:v>8.4904058413989993</c:v>
                </c:pt>
                <c:pt idx="245">
                  <c:v>17.012589316092999</c:v>
                </c:pt>
                <c:pt idx="246">
                  <c:v>34.078807241745999</c:v>
                </c:pt>
                <c:pt idx="247">
                  <c:v>21.333788454153002</c:v>
                </c:pt>
                <c:pt idx="248">
                  <c:v>12.822704735852</c:v>
                </c:pt>
                <c:pt idx="249">
                  <c:v>12.847415528241999</c:v>
                </c:pt>
                <c:pt idx="250">
                  <c:v>12.851267991775</c:v>
                </c:pt>
                <c:pt idx="251">
                  <c:v>8.5686131699580006</c:v>
                </c:pt>
                <c:pt idx="252">
                  <c:v>34.327397554172002</c:v>
                </c:pt>
                <c:pt idx="253">
                  <c:v>25.747757799424001</c:v>
                </c:pt>
                <c:pt idx="254">
                  <c:v>30.097170865938001</c:v>
                </c:pt>
                <c:pt idx="255">
                  <c:v>47.342371422423</c:v>
                </c:pt>
                <c:pt idx="256">
                  <c:v>34.472357478347</c:v>
                </c:pt>
                <c:pt idx="257">
                  <c:v>17.240636179475</c:v>
                </c:pt>
                <c:pt idx="258">
                  <c:v>30.176315902917999</c:v>
                </c:pt>
                <c:pt idx="259">
                  <c:v>86.322240925374004</c:v>
                </c:pt>
                <c:pt idx="260">
                  <c:v>73.472210216958999</c:v>
                </c:pt>
                <c:pt idx="261">
                  <c:v>56.255138690552997</c:v>
                </c:pt>
                <c:pt idx="262">
                  <c:v>112.666291112362</c:v>
                </c:pt>
                <c:pt idx="263">
                  <c:v>117.218025527481</c:v>
                </c:pt>
                <c:pt idx="264">
                  <c:v>43.425395171096</c:v>
                </c:pt>
                <c:pt idx="265">
                  <c:v>26.057500217145002</c:v>
                </c:pt>
                <c:pt idx="266">
                  <c:v>104.361438448493</c:v>
                </c:pt>
                <c:pt idx="267">
                  <c:v>126.235145605711</c:v>
                </c:pt>
                <c:pt idx="268">
                  <c:v>161.248147825329</c:v>
                </c:pt>
                <c:pt idx="269">
                  <c:v>61.103351955306998</c:v>
                </c:pt>
                <c:pt idx="270">
                  <c:v>174.95516773826699</c:v>
                </c:pt>
                <c:pt idx="271">
                  <c:v>135.625847661547</c:v>
                </c:pt>
                <c:pt idx="272">
                  <c:v>70.006563115291996</c:v>
                </c:pt>
                <c:pt idx="273">
                  <c:v>205.87848788821199</c:v>
                </c:pt>
                <c:pt idx="274">
                  <c:v>214.78039800122701</c:v>
                </c:pt>
                <c:pt idx="275">
                  <c:v>241.37628368296299</c:v>
                </c:pt>
                <c:pt idx="276">
                  <c:v>162.651661684543</c:v>
                </c:pt>
                <c:pt idx="277">
                  <c:v>154.23258273476401</c:v>
                </c:pt>
                <c:pt idx="278">
                  <c:v>136.67827697191399</c:v>
                </c:pt>
                <c:pt idx="279">
                  <c:v>39.700044111159997</c:v>
                </c:pt>
                <c:pt idx="280">
                  <c:v>269.517960500154</c:v>
                </c:pt>
                <c:pt idx="281">
                  <c:v>248.127963135274</c:v>
                </c:pt>
                <c:pt idx="282">
                  <c:v>315.54153148748901</c:v>
                </c:pt>
                <c:pt idx="283">
                  <c:v>186.80781034559399</c:v>
                </c:pt>
                <c:pt idx="284">
                  <c:v>298.86698188955302</c:v>
                </c:pt>
                <c:pt idx="285">
                  <c:v>200.901825974373</c:v>
                </c:pt>
                <c:pt idx="286">
                  <c:v>80.418174507437996</c:v>
                </c:pt>
                <c:pt idx="287">
                  <c:v>340.56282487901001</c:v>
                </c:pt>
                <c:pt idx="288">
                  <c:v>458.20044023179503</c:v>
                </c:pt>
                <c:pt idx="289">
                  <c:v>211.74032526918</c:v>
                </c:pt>
                <c:pt idx="290">
                  <c:v>303.00289435600502</c:v>
                </c:pt>
                <c:pt idx="291">
                  <c:v>558.76073229455301</c:v>
                </c:pt>
                <c:pt idx="292">
                  <c:v>318.25414867015201</c:v>
                </c:pt>
                <c:pt idx="293">
                  <c:v>118.283972521723</c:v>
                </c:pt>
                <c:pt idx="294">
                  <c:v>383.50910834132299</c:v>
                </c:pt>
                <c:pt idx="295">
                  <c:v>498.83300535444602</c:v>
                </c:pt>
                <c:pt idx="296">
                  <c:v>284.76942862392002</c:v>
                </c:pt>
                <c:pt idx="297">
                  <c:v>419.39349248778598</c:v>
                </c:pt>
                <c:pt idx="298">
                  <c:v>333.45683586513502</c:v>
                </c:pt>
                <c:pt idx="299">
                  <c:v>176.170607324988</c:v>
                </c:pt>
                <c:pt idx="300">
                  <c:v>115.998515219005</c:v>
                </c:pt>
                <c:pt idx="301">
                  <c:v>391.35296310100603</c:v>
                </c:pt>
                <c:pt idx="302">
                  <c:v>337.20494567253598</c:v>
                </c:pt>
                <c:pt idx="303">
                  <c:v>379.88931619923</c:v>
                </c:pt>
                <c:pt idx="304">
                  <c:v>254.52488687782801</c:v>
                </c:pt>
                <c:pt idx="305">
                  <c:v>289.27775406648601</c:v>
                </c:pt>
                <c:pt idx="306">
                  <c:v>137.813049470132</c:v>
                </c:pt>
                <c:pt idx="307">
                  <c:v>118.962645729241</c:v>
                </c:pt>
                <c:pt idx="308">
                  <c:v>320.54348866137201</c:v>
                </c:pt>
                <c:pt idx="309">
                  <c:v>317.68953068591998</c:v>
                </c:pt>
                <c:pt idx="310">
                  <c:v>227.591884170258</c:v>
                </c:pt>
                <c:pt idx="311">
                  <c:v>253.287871407696</c:v>
                </c:pt>
                <c:pt idx="312">
                  <c:v>201.31591868800899</c:v>
                </c:pt>
                <c:pt idx="313">
                  <c:v>172.11703958691899</c:v>
                </c:pt>
                <c:pt idx="314">
                  <c:v>88.643750615580998</c:v>
                </c:pt>
                <c:pt idx="315">
                  <c:v>217.531022890196</c:v>
                </c:pt>
                <c:pt idx="316">
                  <c:v>263.314785373608</c:v>
                </c:pt>
                <c:pt idx="317">
                  <c:v>174.755342520471</c:v>
                </c:pt>
                <c:pt idx="318">
                  <c:v>150.64778547755299</c:v>
                </c:pt>
                <c:pt idx="319">
                  <c:v>166.607764931589</c:v>
                </c:pt>
                <c:pt idx="320">
                  <c:v>106.221547799696</c:v>
                </c:pt>
                <c:pt idx="321">
                  <c:v>55.727240488372999</c:v>
                </c:pt>
                <c:pt idx="322">
                  <c:v>157.92959396810801</c:v>
                </c:pt>
                <c:pt idx="323">
                  <c:v>128.02785886208801</c:v>
                </c:pt>
                <c:pt idx="324">
                  <c:v>133.5182046936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828-48BB-953D-F4625A5DF8BB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Ukončené očkování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trendline>
            <c:spPr>
              <a:ln w="28575" cap="rnd">
                <a:solidFill>
                  <a:schemeClr val="accent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A$2:$A$326</c:f>
              <c:numCache>
                <c:formatCode>m/d/yyyy</c:formatCode>
                <c:ptCount val="325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  <c:pt idx="168">
                  <c:v>44396</c:v>
                </c:pt>
                <c:pt idx="169">
                  <c:v>44397</c:v>
                </c:pt>
                <c:pt idx="170">
                  <c:v>44398</c:v>
                </c:pt>
                <c:pt idx="171">
                  <c:v>44399</c:v>
                </c:pt>
                <c:pt idx="172">
                  <c:v>44400</c:v>
                </c:pt>
                <c:pt idx="173">
                  <c:v>44401</c:v>
                </c:pt>
                <c:pt idx="174">
                  <c:v>44402</c:v>
                </c:pt>
                <c:pt idx="175">
                  <c:v>44403</c:v>
                </c:pt>
                <c:pt idx="176">
                  <c:v>44404</c:v>
                </c:pt>
                <c:pt idx="177">
                  <c:v>44405</c:v>
                </c:pt>
                <c:pt idx="178">
                  <c:v>44406</c:v>
                </c:pt>
                <c:pt idx="179">
                  <c:v>44407</c:v>
                </c:pt>
                <c:pt idx="180">
                  <c:v>44408</c:v>
                </c:pt>
                <c:pt idx="181">
                  <c:v>44409</c:v>
                </c:pt>
                <c:pt idx="182">
                  <c:v>44410</c:v>
                </c:pt>
                <c:pt idx="183">
                  <c:v>44411</c:v>
                </c:pt>
                <c:pt idx="184">
                  <c:v>44412</c:v>
                </c:pt>
                <c:pt idx="185">
                  <c:v>44413</c:v>
                </c:pt>
                <c:pt idx="186">
                  <c:v>44414</c:v>
                </c:pt>
                <c:pt idx="187">
                  <c:v>44415</c:v>
                </c:pt>
                <c:pt idx="188">
                  <c:v>44416</c:v>
                </c:pt>
                <c:pt idx="189">
                  <c:v>44417</c:v>
                </c:pt>
                <c:pt idx="190">
                  <c:v>44418</c:v>
                </c:pt>
                <c:pt idx="191">
                  <c:v>44419</c:v>
                </c:pt>
                <c:pt idx="192">
                  <c:v>44420</c:v>
                </c:pt>
                <c:pt idx="193">
                  <c:v>44421</c:v>
                </c:pt>
                <c:pt idx="194">
                  <c:v>44422</c:v>
                </c:pt>
                <c:pt idx="195">
                  <c:v>44423</c:v>
                </c:pt>
                <c:pt idx="196">
                  <c:v>44424</c:v>
                </c:pt>
                <c:pt idx="197">
                  <c:v>44425</c:v>
                </c:pt>
                <c:pt idx="198">
                  <c:v>44426</c:v>
                </c:pt>
                <c:pt idx="199">
                  <c:v>44427</c:v>
                </c:pt>
                <c:pt idx="200">
                  <c:v>44428</c:v>
                </c:pt>
                <c:pt idx="201">
                  <c:v>44429</c:v>
                </c:pt>
                <c:pt idx="202">
                  <c:v>44430</c:v>
                </c:pt>
                <c:pt idx="203">
                  <c:v>44431</c:v>
                </c:pt>
                <c:pt idx="204">
                  <c:v>44432</c:v>
                </c:pt>
                <c:pt idx="205">
                  <c:v>44433</c:v>
                </c:pt>
                <c:pt idx="206">
                  <c:v>44434</c:v>
                </c:pt>
                <c:pt idx="207">
                  <c:v>44435</c:v>
                </c:pt>
                <c:pt idx="208">
                  <c:v>44436</c:v>
                </c:pt>
                <c:pt idx="209">
                  <c:v>44437</c:v>
                </c:pt>
                <c:pt idx="210">
                  <c:v>44438</c:v>
                </c:pt>
                <c:pt idx="211">
                  <c:v>44439</c:v>
                </c:pt>
                <c:pt idx="212">
                  <c:v>44440</c:v>
                </c:pt>
                <c:pt idx="213">
                  <c:v>44441</c:v>
                </c:pt>
                <c:pt idx="214">
                  <c:v>44442</c:v>
                </c:pt>
                <c:pt idx="215">
                  <c:v>44443</c:v>
                </c:pt>
                <c:pt idx="216">
                  <c:v>44444</c:v>
                </c:pt>
                <c:pt idx="217">
                  <c:v>44445</c:v>
                </c:pt>
                <c:pt idx="218">
                  <c:v>44446</c:v>
                </c:pt>
                <c:pt idx="219">
                  <c:v>44447</c:v>
                </c:pt>
                <c:pt idx="220">
                  <c:v>44448</c:v>
                </c:pt>
                <c:pt idx="221">
                  <c:v>44449</c:v>
                </c:pt>
                <c:pt idx="222">
                  <c:v>44450</c:v>
                </c:pt>
                <c:pt idx="223">
                  <c:v>44451</c:v>
                </c:pt>
                <c:pt idx="224">
                  <c:v>44452</c:v>
                </c:pt>
                <c:pt idx="225">
                  <c:v>44453</c:v>
                </c:pt>
                <c:pt idx="226">
                  <c:v>44454</c:v>
                </c:pt>
                <c:pt idx="227">
                  <c:v>44455</c:v>
                </c:pt>
                <c:pt idx="228">
                  <c:v>44456</c:v>
                </c:pt>
                <c:pt idx="229">
                  <c:v>44457</c:v>
                </c:pt>
                <c:pt idx="230">
                  <c:v>44458</c:v>
                </c:pt>
                <c:pt idx="231">
                  <c:v>44459</c:v>
                </c:pt>
                <c:pt idx="232">
                  <c:v>44460</c:v>
                </c:pt>
                <c:pt idx="233">
                  <c:v>44461</c:v>
                </c:pt>
                <c:pt idx="234">
                  <c:v>44462</c:v>
                </c:pt>
                <c:pt idx="235">
                  <c:v>44463</c:v>
                </c:pt>
                <c:pt idx="236">
                  <c:v>44464</c:v>
                </c:pt>
                <c:pt idx="237">
                  <c:v>44465</c:v>
                </c:pt>
                <c:pt idx="238">
                  <c:v>44466</c:v>
                </c:pt>
                <c:pt idx="239">
                  <c:v>44467</c:v>
                </c:pt>
                <c:pt idx="240">
                  <c:v>44468</c:v>
                </c:pt>
                <c:pt idx="241">
                  <c:v>44469</c:v>
                </c:pt>
                <c:pt idx="242">
                  <c:v>44470</c:v>
                </c:pt>
                <c:pt idx="243">
                  <c:v>44471</c:v>
                </c:pt>
                <c:pt idx="244">
                  <c:v>44472</c:v>
                </c:pt>
                <c:pt idx="245">
                  <c:v>44473</c:v>
                </c:pt>
                <c:pt idx="246">
                  <c:v>44474</c:v>
                </c:pt>
                <c:pt idx="247">
                  <c:v>44475</c:v>
                </c:pt>
                <c:pt idx="248">
                  <c:v>44476</c:v>
                </c:pt>
                <c:pt idx="249">
                  <c:v>44477</c:v>
                </c:pt>
                <c:pt idx="250">
                  <c:v>44478</c:v>
                </c:pt>
                <c:pt idx="251">
                  <c:v>44479</c:v>
                </c:pt>
                <c:pt idx="252">
                  <c:v>44480</c:v>
                </c:pt>
                <c:pt idx="253">
                  <c:v>44481</c:v>
                </c:pt>
                <c:pt idx="254">
                  <c:v>44482</c:v>
                </c:pt>
                <c:pt idx="255">
                  <c:v>44483</c:v>
                </c:pt>
                <c:pt idx="256">
                  <c:v>44484</c:v>
                </c:pt>
                <c:pt idx="257">
                  <c:v>44485</c:v>
                </c:pt>
                <c:pt idx="258">
                  <c:v>44486</c:v>
                </c:pt>
                <c:pt idx="259">
                  <c:v>44487</c:v>
                </c:pt>
                <c:pt idx="260">
                  <c:v>44488</c:v>
                </c:pt>
                <c:pt idx="261">
                  <c:v>44489</c:v>
                </c:pt>
                <c:pt idx="262">
                  <c:v>44490</c:v>
                </c:pt>
                <c:pt idx="263">
                  <c:v>44491</c:v>
                </c:pt>
                <c:pt idx="264">
                  <c:v>44492</c:v>
                </c:pt>
                <c:pt idx="265">
                  <c:v>44493</c:v>
                </c:pt>
                <c:pt idx="266">
                  <c:v>44494</c:v>
                </c:pt>
                <c:pt idx="267">
                  <c:v>44495</c:v>
                </c:pt>
                <c:pt idx="268">
                  <c:v>44496</c:v>
                </c:pt>
                <c:pt idx="269">
                  <c:v>44497</c:v>
                </c:pt>
                <c:pt idx="270">
                  <c:v>44498</c:v>
                </c:pt>
                <c:pt idx="271">
                  <c:v>44499</c:v>
                </c:pt>
                <c:pt idx="272">
                  <c:v>44500</c:v>
                </c:pt>
                <c:pt idx="273">
                  <c:v>44501</c:v>
                </c:pt>
                <c:pt idx="274">
                  <c:v>44502</c:v>
                </c:pt>
                <c:pt idx="275">
                  <c:v>44503</c:v>
                </c:pt>
                <c:pt idx="276">
                  <c:v>44504</c:v>
                </c:pt>
                <c:pt idx="277">
                  <c:v>44505</c:v>
                </c:pt>
                <c:pt idx="278">
                  <c:v>44506</c:v>
                </c:pt>
                <c:pt idx="279">
                  <c:v>44507</c:v>
                </c:pt>
                <c:pt idx="280">
                  <c:v>44508</c:v>
                </c:pt>
                <c:pt idx="281">
                  <c:v>44509</c:v>
                </c:pt>
                <c:pt idx="282">
                  <c:v>44510</c:v>
                </c:pt>
                <c:pt idx="283">
                  <c:v>44511</c:v>
                </c:pt>
                <c:pt idx="284">
                  <c:v>44512</c:v>
                </c:pt>
                <c:pt idx="285">
                  <c:v>44513</c:v>
                </c:pt>
                <c:pt idx="286">
                  <c:v>44514</c:v>
                </c:pt>
                <c:pt idx="287">
                  <c:v>44515</c:v>
                </c:pt>
                <c:pt idx="288">
                  <c:v>44516</c:v>
                </c:pt>
                <c:pt idx="289">
                  <c:v>44517</c:v>
                </c:pt>
                <c:pt idx="290">
                  <c:v>44518</c:v>
                </c:pt>
                <c:pt idx="291">
                  <c:v>44519</c:v>
                </c:pt>
                <c:pt idx="292">
                  <c:v>44520</c:v>
                </c:pt>
                <c:pt idx="293">
                  <c:v>44521</c:v>
                </c:pt>
                <c:pt idx="294">
                  <c:v>44522</c:v>
                </c:pt>
                <c:pt idx="295">
                  <c:v>44523</c:v>
                </c:pt>
                <c:pt idx="296">
                  <c:v>44524</c:v>
                </c:pt>
                <c:pt idx="297">
                  <c:v>44525</c:v>
                </c:pt>
                <c:pt idx="298">
                  <c:v>44526</c:v>
                </c:pt>
                <c:pt idx="299">
                  <c:v>44527</c:v>
                </c:pt>
                <c:pt idx="300">
                  <c:v>44528</c:v>
                </c:pt>
                <c:pt idx="301">
                  <c:v>44529</c:v>
                </c:pt>
                <c:pt idx="302">
                  <c:v>44530</c:v>
                </c:pt>
                <c:pt idx="303">
                  <c:v>44531</c:v>
                </c:pt>
                <c:pt idx="304">
                  <c:v>44532</c:v>
                </c:pt>
                <c:pt idx="305">
                  <c:v>44533</c:v>
                </c:pt>
                <c:pt idx="306">
                  <c:v>44534</c:v>
                </c:pt>
                <c:pt idx="307">
                  <c:v>44535</c:v>
                </c:pt>
                <c:pt idx="308">
                  <c:v>44536</c:v>
                </c:pt>
                <c:pt idx="309">
                  <c:v>44537</c:v>
                </c:pt>
                <c:pt idx="310">
                  <c:v>44538</c:v>
                </c:pt>
                <c:pt idx="311">
                  <c:v>44539</c:v>
                </c:pt>
                <c:pt idx="312">
                  <c:v>44540</c:v>
                </c:pt>
                <c:pt idx="313">
                  <c:v>44541</c:v>
                </c:pt>
                <c:pt idx="314">
                  <c:v>44542</c:v>
                </c:pt>
                <c:pt idx="315">
                  <c:v>44543</c:v>
                </c:pt>
                <c:pt idx="316">
                  <c:v>44544</c:v>
                </c:pt>
                <c:pt idx="317">
                  <c:v>44545</c:v>
                </c:pt>
                <c:pt idx="318">
                  <c:v>44546</c:v>
                </c:pt>
                <c:pt idx="319">
                  <c:v>44547</c:v>
                </c:pt>
                <c:pt idx="320">
                  <c:v>44548</c:v>
                </c:pt>
                <c:pt idx="321">
                  <c:v>44549</c:v>
                </c:pt>
                <c:pt idx="322">
                  <c:v>44550</c:v>
                </c:pt>
                <c:pt idx="323">
                  <c:v>44551</c:v>
                </c:pt>
                <c:pt idx="324">
                  <c:v>44552</c:v>
                </c:pt>
              </c:numCache>
            </c:numRef>
          </c:cat>
          <c:val>
            <c:numRef>
              <c:f>List1!$C$2:$C$326</c:f>
              <c:numCache>
                <c:formatCode>General</c:formatCode>
                <c:ptCount val="32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25.300442757748002</c:v>
                </c:pt>
                <c:pt idx="10">
                  <c:v>10.128633647319999</c:v>
                </c:pt>
                <c:pt idx="11">
                  <c:v>32.323232323231998</c:v>
                </c:pt>
                <c:pt idx="12">
                  <c:v>0</c:v>
                </c:pt>
                <c:pt idx="13">
                  <c:v>0</c:v>
                </c:pt>
                <c:pt idx="14">
                  <c:v>6.6724494561950003</c:v>
                </c:pt>
                <c:pt idx="15">
                  <c:v>0</c:v>
                </c:pt>
                <c:pt idx="16">
                  <c:v>5.0200803212849996</c:v>
                </c:pt>
                <c:pt idx="17">
                  <c:v>17.692852087755998</c:v>
                </c:pt>
                <c:pt idx="18">
                  <c:v>16.116035455277999</c:v>
                </c:pt>
                <c:pt idx="19">
                  <c:v>0</c:v>
                </c:pt>
                <c:pt idx="20">
                  <c:v>0</c:v>
                </c:pt>
                <c:pt idx="21">
                  <c:v>18.386408766639001</c:v>
                </c:pt>
                <c:pt idx="22">
                  <c:v>17.381026871067</c:v>
                </c:pt>
                <c:pt idx="23">
                  <c:v>33.065502760968997</c:v>
                </c:pt>
                <c:pt idx="24">
                  <c:v>12.639428697822</c:v>
                </c:pt>
                <c:pt idx="25">
                  <c:v>30.360070435362999</c:v>
                </c:pt>
                <c:pt idx="26">
                  <c:v>12.088609507691</c:v>
                </c:pt>
                <c:pt idx="27">
                  <c:v>21.124422850588999</c:v>
                </c:pt>
                <c:pt idx="28">
                  <c:v>41.209195537631999</c:v>
                </c:pt>
                <c:pt idx="29">
                  <c:v>17.326017903551001</c:v>
                </c:pt>
                <c:pt idx="30">
                  <c:v>22.704697034197999</c:v>
                </c:pt>
                <c:pt idx="31">
                  <c:v>19.482868991621999</c:v>
                </c:pt>
                <c:pt idx="32">
                  <c:v>35.617414175729998</c:v>
                </c:pt>
                <c:pt idx="33">
                  <c:v>2.7373261797869999</c:v>
                </c:pt>
                <c:pt idx="34">
                  <c:v>8.2036697749450003</c:v>
                </c:pt>
                <c:pt idx="35">
                  <c:v>18.934271030565</c:v>
                </c:pt>
                <c:pt idx="36">
                  <c:v>29.374065370646999</c:v>
                </c:pt>
                <c:pt idx="37">
                  <c:v>2.6445231924680002</c:v>
                </c:pt>
                <c:pt idx="38">
                  <c:v>18.337568438424999</c:v>
                </c:pt>
                <c:pt idx="39">
                  <c:v>23.287706678395999</c:v>
                </c:pt>
                <c:pt idx="40">
                  <c:v>12.932929825922001</c:v>
                </c:pt>
                <c:pt idx="41">
                  <c:v>7.7581525252779997</c:v>
                </c:pt>
                <c:pt idx="42">
                  <c:v>25.72347266881</c:v>
                </c:pt>
                <c:pt idx="43">
                  <c:v>12.777919754662999</c:v>
                </c:pt>
                <c:pt idx="44">
                  <c:v>12.678127694102001</c:v>
                </c:pt>
                <c:pt idx="45">
                  <c:v>10.068719007224001</c:v>
                </c:pt>
                <c:pt idx="46">
                  <c:v>17.442874585731001</c:v>
                </c:pt>
                <c:pt idx="47">
                  <c:v>2.4910322837779999</c:v>
                </c:pt>
                <c:pt idx="48">
                  <c:v>4.980327705563</c:v>
                </c:pt>
                <c:pt idx="49">
                  <c:v>17.285231004764999</c:v>
                </c:pt>
                <c:pt idx="50">
                  <c:v>12.250998456374001</c:v>
                </c:pt>
                <c:pt idx="51">
                  <c:v>19.423132951345</c:v>
                </c:pt>
                <c:pt idx="52">
                  <c:v>11.975761059614999</c:v>
                </c:pt>
                <c:pt idx="53">
                  <c:v>11.797461186352001</c:v>
                </c:pt>
                <c:pt idx="54">
                  <c:v>9.4224064826149991</c:v>
                </c:pt>
                <c:pt idx="55">
                  <c:v>9.4064528266390006</c:v>
                </c:pt>
                <c:pt idx="56">
                  <c:v>13.946353028681999</c:v>
                </c:pt>
                <c:pt idx="57">
                  <c:v>2.2987977287870001</c:v>
                </c:pt>
                <c:pt idx="58">
                  <c:v>9.0762633023980008</c:v>
                </c:pt>
                <c:pt idx="59">
                  <c:v>4.4705724568029996</c:v>
                </c:pt>
                <c:pt idx="60">
                  <c:v>4.3887560071090004</c:v>
                </c:pt>
                <c:pt idx="61">
                  <c:v>8.7657784011220006</c:v>
                </c:pt>
                <c:pt idx="62">
                  <c:v>2.1899568578489998</c:v>
                </c:pt>
                <c:pt idx="63">
                  <c:v>4.3250724449630003</c:v>
                </c:pt>
                <c:pt idx="64">
                  <c:v>14.956625785222</c:v>
                </c:pt>
                <c:pt idx="65">
                  <c:v>4.2201215395</c:v>
                </c:pt>
                <c:pt idx="66">
                  <c:v>6.2353210151100003</c:v>
                </c:pt>
                <c:pt idx="67">
                  <c:v>4.083632799738</c:v>
                </c:pt>
                <c:pt idx="68">
                  <c:v>6.1094819159330003</c:v>
                </c:pt>
                <c:pt idx="69">
                  <c:v>2.034256885959</c:v>
                </c:pt>
                <c:pt idx="70">
                  <c:v>12.048192771084</c:v>
                </c:pt>
                <c:pt idx="71">
                  <c:v>3.9611019785699999</c:v>
                </c:pt>
                <c:pt idx="72">
                  <c:v>7.8083822983970004</c:v>
                </c:pt>
                <c:pt idx="73">
                  <c:v>5.7531882251409998</c:v>
                </c:pt>
                <c:pt idx="74">
                  <c:v>3.8126465486010002</c:v>
                </c:pt>
                <c:pt idx="75">
                  <c:v>3.8004750593819998</c:v>
                </c:pt>
                <c:pt idx="76">
                  <c:v>1.895123846343</c:v>
                </c:pt>
                <c:pt idx="77">
                  <c:v>3.7819337027020001</c:v>
                </c:pt>
                <c:pt idx="78">
                  <c:v>9.2897088605239997</c:v>
                </c:pt>
                <c:pt idx="79">
                  <c:v>11.002512240293999</c:v>
                </c:pt>
                <c:pt idx="80">
                  <c:v>1.808449074074</c:v>
                </c:pt>
                <c:pt idx="81">
                  <c:v>3.5635378804069999</c:v>
                </c:pt>
                <c:pt idx="82">
                  <c:v>1.773332624</c:v>
                </c:pt>
                <c:pt idx="83">
                  <c:v>1.7690348146049999</c:v>
                </c:pt>
                <c:pt idx="84">
                  <c:v>3.5071721670809999</c:v>
                </c:pt>
                <c:pt idx="85">
                  <c:v>1.736382420864</c:v>
                </c:pt>
                <c:pt idx="86">
                  <c:v>0</c:v>
                </c:pt>
                <c:pt idx="87">
                  <c:v>3.4093621083490002</c:v>
                </c:pt>
                <c:pt idx="88">
                  <c:v>6.7472968641930002</c:v>
                </c:pt>
                <c:pt idx="89">
                  <c:v>3.3677971239010001</c:v>
                </c:pt>
                <c:pt idx="90">
                  <c:v>1.6810960746400001</c:v>
                </c:pt>
                <c:pt idx="91">
                  <c:v>5.0144583549229997</c:v>
                </c:pt>
                <c:pt idx="92">
                  <c:v>9.9818662762640002</c:v>
                </c:pt>
                <c:pt idx="93">
                  <c:v>6.6284426473989999</c:v>
                </c:pt>
                <c:pt idx="94">
                  <c:v>3.2985882042479999</c:v>
                </c:pt>
                <c:pt idx="95">
                  <c:v>3.2863926910619998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1.6316674009159999</c:v>
                </c:pt>
                <c:pt idx="100">
                  <c:v>3.2526142887340002</c:v>
                </c:pt>
                <c:pt idx="101">
                  <c:v>3.2426472972529998</c:v>
                </c:pt>
                <c:pt idx="102">
                  <c:v>1.6162661020510001</c:v>
                </c:pt>
                <c:pt idx="103">
                  <c:v>1.6156654926159999</c:v>
                </c:pt>
                <c:pt idx="104">
                  <c:v>0</c:v>
                </c:pt>
                <c:pt idx="105">
                  <c:v>4.8387096774189997</c:v>
                </c:pt>
                <c:pt idx="106">
                  <c:v>1.611006395695</c:v>
                </c:pt>
                <c:pt idx="107">
                  <c:v>1.6077170418</c:v>
                </c:pt>
                <c:pt idx="108">
                  <c:v>3.2074412637309999</c:v>
                </c:pt>
                <c:pt idx="109">
                  <c:v>1.599692858971</c:v>
                </c:pt>
                <c:pt idx="110">
                  <c:v>0</c:v>
                </c:pt>
                <c:pt idx="111">
                  <c:v>0</c:v>
                </c:pt>
                <c:pt idx="112">
                  <c:v>1.596806387225</c:v>
                </c:pt>
                <c:pt idx="113">
                  <c:v>3.1897926634760001</c:v>
                </c:pt>
                <c:pt idx="114">
                  <c:v>0</c:v>
                </c:pt>
                <c:pt idx="115">
                  <c:v>0</c:v>
                </c:pt>
                <c:pt idx="116">
                  <c:v>1.583907499802</c:v>
                </c:pt>
                <c:pt idx="117">
                  <c:v>0</c:v>
                </c:pt>
                <c:pt idx="118">
                  <c:v>0</c:v>
                </c:pt>
                <c:pt idx="119">
                  <c:v>0</c:v>
                </c:pt>
                <c:pt idx="120">
                  <c:v>0</c:v>
                </c:pt>
                <c:pt idx="121">
                  <c:v>0</c:v>
                </c:pt>
                <c:pt idx="122">
                  <c:v>1.554605518849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0</c:v>
                </c:pt>
                <c:pt idx="127">
                  <c:v>1.530713771831</c:v>
                </c:pt>
                <c:pt idx="128">
                  <c:v>0</c:v>
                </c:pt>
                <c:pt idx="129">
                  <c:v>0</c:v>
                </c:pt>
                <c:pt idx="131">
                  <c:v>0</c:v>
                </c:pt>
                <c:pt idx="132">
                  <c:v>1.502133028901</c:v>
                </c:pt>
                <c:pt idx="133">
                  <c:v>0</c:v>
                </c:pt>
                <c:pt idx="135">
                  <c:v>0</c:v>
                </c:pt>
                <c:pt idx="136">
                  <c:v>0</c:v>
                </c:pt>
                <c:pt idx="137">
                  <c:v>0</c:v>
                </c:pt>
                <c:pt idx="138">
                  <c:v>1.471150734104</c:v>
                </c:pt>
                <c:pt idx="139">
                  <c:v>0</c:v>
                </c:pt>
                <c:pt idx="141">
                  <c:v>0</c:v>
                </c:pt>
                <c:pt idx="142">
                  <c:v>0</c:v>
                </c:pt>
                <c:pt idx="143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1.4380419620639999</c:v>
                </c:pt>
                <c:pt idx="148">
                  <c:v>0</c:v>
                </c:pt>
                <c:pt idx="150">
                  <c:v>0</c:v>
                </c:pt>
                <c:pt idx="151">
                  <c:v>1.4199301394370001</c:v>
                </c:pt>
                <c:pt idx="153">
                  <c:v>0</c:v>
                </c:pt>
                <c:pt idx="154">
                  <c:v>2.8261361067139998</c:v>
                </c:pt>
                <c:pt idx="155">
                  <c:v>0</c:v>
                </c:pt>
                <c:pt idx="156">
                  <c:v>0</c:v>
                </c:pt>
                <c:pt idx="157">
                  <c:v>0</c:v>
                </c:pt>
                <c:pt idx="158">
                  <c:v>0</c:v>
                </c:pt>
                <c:pt idx="159">
                  <c:v>0</c:v>
                </c:pt>
                <c:pt idx="161">
                  <c:v>1.388869599033</c:v>
                </c:pt>
                <c:pt idx="162">
                  <c:v>1.3844854559799999</c:v>
                </c:pt>
                <c:pt idx="163">
                  <c:v>2.7593438280370002</c:v>
                </c:pt>
                <c:pt idx="164">
                  <c:v>0</c:v>
                </c:pt>
                <c:pt idx="165">
                  <c:v>0</c:v>
                </c:pt>
                <c:pt idx="166">
                  <c:v>0</c:v>
                </c:pt>
                <c:pt idx="167">
                  <c:v>0</c:v>
                </c:pt>
                <c:pt idx="168">
                  <c:v>4.103798749709</c:v>
                </c:pt>
                <c:pt idx="169">
                  <c:v>0</c:v>
                </c:pt>
                <c:pt idx="170">
                  <c:v>1.3631592578959999</c:v>
                </c:pt>
                <c:pt idx="171">
                  <c:v>0</c:v>
                </c:pt>
                <c:pt idx="172">
                  <c:v>2.7130783944000001</c:v>
                </c:pt>
                <c:pt idx="173">
                  <c:v>1.355197181189</c:v>
                </c:pt>
                <c:pt idx="174">
                  <c:v>0</c:v>
                </c:pt>
                <c:pt idx="175">
                  <c:v>2.701753437981</c:v>
                </c:pt>
                <c:pt idx="176">
                  <c:v>0</c:v>
                </c:pt>
                <c:pt idx="177">
                  <c:v>0</c:v>
                </c:pt>
                <c:pt idx="178">
                  <c:v>0</c:v>
                </c:pt>
                <c:pt idx="179">
                  <c:v>1.337327484754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  <c:pt idx="183">
                  <c:v>1.3288330188419999</c:v>
                </c:pt>
                <c:pt idx="184">
                  <c:v>0</c:v>
                </c:pt>
                <c:pt idx="185">
                  <c:v>1.3219644391559999</c:v>
                </c:pt>
                <c:pt idx="186">
                  <c:v>0</c:v>
                </c:pt>
                <c:pt idx="187">
                  <c:v>0</c:v>
                </c:pt>
                <c:pt idx="188">
                  <c:v>0</c:v>
                </c:pt>
                <c:pt idx="189">
                  <c:v>0</c:v>
                </c:pt>
                <c:pt idx="190">
                  <c:v>1.3117334557610001</c:v>
                </c:pt>
                <c:pt idx="191">
                  <c:v>1.309089004961</c:v>
                </c:pt>
                <c:pt idx="192">
                  <c:v>1.3068308046149999</c:v>
                </c:pt>
                <c:pt idx="193">
                  <c:v>0</c:v>
                </c:pt>
                <c:pt idx="194">
                  <c:v>1.303560022421</c:v>
                </c:pt>
                <c:pt idx="195">
                  <c:v>1.3028297462080001</c:v>
                </c:pt>
                <c:pt idx="196">
                  <c:v>1.3012023109349999</c:v>
                </c:pt>
                <c:pt idx="197">
                  <c:v>1.2989880882789999</c:v>
                </c:pt>
                <c:pt idx="198">
                  <c:v>0</c:v>
                </c:pt>
                <c:pt idx="199">
                  <c:v>1.2947665535899999</c:v>
                </c:pt>
                <c:pt idx="200">
                  <c:v>0</c:v>
                </c:pt>
                <c:pt idx="201">
                  <c:v>0</c:v>
                </c:pt>
                <c:pt idx="202">
                  <c:v>1.2907556083330001</c:v>
                </c:pt>
                <c:pt idx="203">
                  <c:v>2.5760581158710001</c:v>
                </c:pt>
                <c:pt idx="204">
                  <c:v>2.5721487730849999</c:v>
                </c:pt>
                <c:pt idx="205">
                  <c:v>0</c:v>
                </c:pt>
                <c:pt idx="206">
                  <c:v>1.2812299807809999</c:v>
                </c:pt>
                <c:pt idx="207">
                  <c:v>1.278837792214</c:v>
                </c:pt>
                <c:pt idx="208">
                  <c:v>0</c:v>
                </c:pt>
                <c:pt idx="209">
                  <c:v>0</c:v>
                </c:pt>
                <c:pt idx="210">
                  <c:v>0</c:v>
                </c:pt>
                <c:pt idx="211">
                  <c:v>2.5476408845399998</c:v>
                </c:pt>
                <c:pt idx="212">
                  <c:v>1.271374992053</c:v>
                </c:pt>
                <c:pt idx="213">
                  <c:v>2.537877826561</c:v>
                </c:pt>
                <c:pt idx="214">
                  <c:v>5.0654070687750004</c:v>
                </c:pt>
                <c:pt idx="215">
                  <c:v>0</c:v>
                </c:pt>
                <c:pt idx="216">
                  <c:v>1.26551841962</c:v>
                </c:pt>
                <c:pt idx="217">
                  <c:v>1.263551590811</c:v>
                </c:pt>
                <c:pt idx="218">
                  <c:v>3.784677103965</c:v>
                </c:pt>
                <c:pt idx="219">
                  <c:v>1.259858391916</c:v>
                </c:pt>
                <c:pt idx="220">
                  <c:v>2.51616636892</c:v>
                </c:pt>
                <c:pt idx="221">
                  <c:v>0</c:v>
                </c:pt>
                <c:pt idx="222">
                  <c:v>1.2563129726869999</c:v>
                </c:pt>
                <c:pt idx="223">
                  <c:v>1.2559658377289999</c:v>
                </c:pt>
                <c:pt idx="224">
                  <c:v>1.2549570804670001</c:v>
                </c:pt>
                <c:pt idx="225">
                  <c:v>2.5078055447579999</c:v>
                </c:pt>
                <c:pt idx="226">
                  <c:v>1.253022917789</c:v>
                </c:pt>
                <c:pt idx="227">
                  <c:v>7.5123013935309997</c:v>
                </c:pt>
                <c:pt idx="228">
                  <c:v>1.2510321014829999</c:v>
                </c:pt>
                <c:pt idx="229">
                  <c:v>1.2508443199149999</c:v>
                </c:pt>
                <c:pt idx="230">
                  <c:v>2.5015321884650001</c:v>
                </c:pt>
                <c:pt idx="231">
                  <c:v>4.9989377257329997</c:v>
                </c:pt>
                <c:pt idx="232">
                  <c:v>2.4981888131100001</c:v>
                </c:pt>
                <c:pt idx="233">
                  <c:v>2.496754219514</c:v>
                </c:pt>
                <c:pt idx="234">
                  <c:v>2.4956326428739999</c:v>
                </c:pt>
                <c:pt idx="235">
                  <c:v>4.9877177450519996</c:v>
                </c:pt>
                <c:pt idx="236">
                  <c:v>3.7404151860849999</c:v>
                </c:pt>
                <c:pt idx="237">
                  <c:v>3.7401353929010002</c:v>
                </c:pt>
                <c:pt idx="238">
                  <c:v>3.7383177570089998</c:v>
                </c:pt>
                <c:pt idx="239">
                  <c:v>6.2261073131850004</c:v>
                </c:pt>
                <c:pt idx="240">
                  <c:v>4.9784061632660004</c:v>
                </c:pt>
                <c:pt idx="241">
                  <c:v>9.9503725170709991</c:v>
                </c:pt>
                <c:pt idx="242">
                  <c:v>2.4859234584159999</c:v>
                </c:pt>
                <c:pt idx="243">
                  <c:v>2.4856762903759999</c:v>
                </c:pt>
                <c:pt idx="244">
                  <c:v>7.4566581743610003</c:v>
                </c:pt>
                <c:pt idx="245">
                  <c:v>7.4525829410369999</c:v>
                </c:pt>
                <c:pt idx="246">
                  <c:v>6.2076329054199997</c:v>
                </c:pt>
                <c:pt idx="247">
                  <c:v>4.9637645190109998</c:v>
                </c:pt>
                <c:pt idx="248">
                  <c:v>6.2015503875959999</c:v>
                </c:pt>
                <c:pt idx="249">
                  <c:v>7.437616987517</c:v>
                </c:pt>
                <c:pt idx="250">
                  <c:v>2.4789905550450002</c:v>
                </c:pt>
                <c:pt idx="251">
                  <c:v>2.4788983775609998</c:v>
                </c:pt>
                <c:pt idx="252">
                  <c:v>12.388963910948</c:v>
                </c:pt>
                <c:pt idx="253">
                  <c:v>16.105254029409998</c:v>
                </c:pt>
                <c:pt idx="254">
                  <c:v>18.572631370412001</c:v>
                </c:pt>
                <c:pt idx="255">
                  <c:v>12.378229170534</c:v>
                </c:pt>
                <c:pt idx="256">
                  <c:v>11.136546433211</c:v>
                </c:pt>
                <c:pt idx="257">
                  <c:v>7.4237212640120003</c:v>
                </c:pt>
                <c:pt idx="258">
                  <c:v>3.7116769356389998</c:v>
                </c:pt>
                <c:pt idx="259">
                  <c:v>18.551957849950998</c:v>
                </c:pt>
                <c:pt idx="260">
                  <c:v>14.835878098534</c:v>
                </c:pt>
                <c:pt idx="261">
                  <c:v>16.066440912573</c:v>
                </c:pt>
                <c:pt idx="262">
                  <c:v>33.355570380252999</c:v>
                </c:pt>
                <c:pt idx="263">
                  <c:v>19.755769302002999</c:v>
                </c:pt>
                <c:pt idx="264">
                  <c:v>29.63145873202</c:v>
                </c:pt>
                <c:pt idx="265">
                  <c:v>6.1729919257260004</c:v>
                </c:pt>
                <c:pt idx="266">
                  <c:v>50.600417144902003</c:v>
                </c:pt>
                <c:pt idx="267">
                  <c:v>48.117851722989002</c:v>
                </c:pt>
                <c:pt idx="268">
                  <c:v>49.335208071239997</c:v>
                </c:pt>
                <c:pt idx="269">
                  <c:v>25.890127231482001</c:v>
                </c:pt>
                <c:pt idx="270">
                  <c:v>51.748992742818999</c:v>
                </c:pt>
                <c:pt idx="271">
                  <c:v>39.424889425505</c:v>
                </c:pt>
                <c:pt idx="272">
                  <c:v>25.871627448563999</c:v>
                </c:pt>
                <c:pt idx="273">
                  <c:v>78.822587597758002</c:v>
                </c:pt>
                <c:pt idx="274">
                  <c:v>67.726483517836002</c:v>
                </c:pt>
                <c:pt idx="275">
                  <c:v>76.320842976020003</c:v>
                </c:pt>
                <c:pt idx="276">
                  <c:v>79.977360254942994</c:v>
                </c:pt>
                <c:pt idx="277">
                  <c:v>94.679503731847007</c:v>
                </c:pt>
                <c:pt idx="278">
                  <c:v>63.930758071257998</c:v>
                </c:pt>
                <c:pt idx="279">
                  <c:v>23.356443919947999</c:v>
                </c:pt>
                <c:pt idx="280">
                  <c:v>89.698220780496996</c:v>
                </c:pt>
                <c:pt idx="281">
                  <c:v>111.72909990545899</c:v>
                </c:pt>
                <c:pt idx="282">
                  <c:v>118.997963540005</c:v>
                </c:pt>
                <c:pt idx="283">
                  <c:v>66.232475990726996</c:v>
                </c:pt>
                <c:pt idx="284">
                  <c:v>115.203137447147</c:v>
                </c:pt>
                <c:pt idx="285">
                  <c:v>63.715339467976001</c:v>
                </c:pt>
                <c:pt idx="286">
                  <c:v>44.102513843289003</c:v>
                </c:pt>
                <c:pt idx="287">
                  <c:v>102.82272871936701</c:v>
                </c:pt>
                <c:pt idx="288">
                  <c:v>155.353582306817</c:v>
                </c:pt>
                <c:pt idx="289">
                  <c:v>90.451278541044999</c:v>
                </c:pt>
                <c:pt idx="290">
                  <c:v>122.106085767314</c:v>
                </c:pt>
                <c:pt idx="291">
                  <c:v>137.81496207039501</c:v>
                </c:pt>
                <c:pt idx="292">
                  <c:v>102.425284413066</c:v>
                </c:pt>
                <c:pt idx="293">
                  <c:v>70.711011411293995</c:v>
                </c:pt>
                <c:pt idx="294">
                  <c:v>131.54529177476499</c:v>
                </c:pt>
                <c:pt idx="295">
                  <c:v>182.588372772421</c:v>
                </c:pt>
                <c:pt idx="296">
                  <c:v>96.071993189832995</c:v>
                </c:pt>
                <c:pt idx="297">
                  <c:v>149.447772256175</c:v>
                </c:pt>
                <c:pt idx="298">
                  <c:v>140.76303271526999</c:v>
                </c:pt>
                <c:pt idx="299">
                  <c:v>84.921568865325995</c:v>
                </c:pt>
                <c:pt idx="300">
                  <c:v>64.284501370594</c:v>
                </c:pt>
                <c:pt idx="301">
                  <c:v>140.54984066979199</c:v>
                </c:pt>
                <c:pt idx="302">
                  <c:v>110.11083684236</c:v>
                </c:pt>
                <c:pt idx="303">
                  <c:v>113.713345591793</c:v>
                </c:pt>
                <c:pt idx="304">
                  <c:v>109.956500724987</c:v>
                </c:pt>
                <c:pt idx="305">
                  <c:v>102.55915249942601</c:v>
                </c:pt>
                <c:pt idx="306">
                  <c:v>68.746758650632998</c:v>
                </c:pt>
                <c:pt idx="307">
                  <c:v>48.232868288093997</c:v>
                </c:pt>
                <c:pt idx="308">
                  <c:v>120.432593877206</c:v>
                </c:pt>
                <c:pt idx="309">
                  <c:v>104.628928094671</c:v>
                </c:pt>
                <c:pt idx="310">
                  <c:v>87.670838037134004</c:v>
                </c:pt>
                <c:pt idx="311">
                  <c:v>89.952864698897002</c:v>
                </c:pt>
                <c:pt idx="312">
                  <c:v>84.998383833546001</c:v>
                </c:pt>
                <c:pt idx="313">
                  <c:v>46.677518192263001</c:v>
                </c:pt>
                <c:pt idx="314">
                  <c:v>47.863493317059003</c:v>
                </c:pt>
                <c:pt idx="315">
                  <c:v>70.540411286465002</c:v>
                </c:pt>
                <c:pt idx="316">
                  <c:v>84.797382030120005</c:v>
                </c:pt>
                <c:pt idx="317">
                  <c:v>60.845393049308001</c:v>
                </c:pt>
                <c:pt idx="318">
                  <c:v>41.704399218340001</c:v>
                </c:pt>
                <c:pt idx="319">
                  <c:v>57.128574999107002</c:v>
                </c:pt>
                <c:pt idx="320">
                  <c:v>32.124500285551001</c:v>
                </c:pt>
                <c:pt idx="321">
                  <c:v>26.168980242419</c:v>
                </c:pt>
                <c:pt idx="322">
                  <c:v>71.285152490822</c:v>
                </c:pt>
                <c:pt idx="323">
                  <c:v>68.833742775423005</c:v>
                </c:pt>
                <c:pt idx="324">
                  <c:v>29.65423165885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828-48BB-953D-F4625A5DF8B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42360815"/>
        <c:axId val="692383071"/>
      </c:lineChart>
      <c:dateAx>
        <c:axId val="442360815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692383071"/>
        <c:crosses val="autoZero"/>
        <c:auto val="1"/>
        <c:lblOffset val="100"/>
        <c:baseTimeUnit val="days"/>
      </c:dateAx>
      <c:valAx>
        <c:axId val="692383071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sz="1800" b="0" i="0" baseline="0" dirty="0">
                    <a:effectLst/>
                  </a:rPr>
                  <a:t>Počet nově pozitivních na 100 tis. dané kategorie v populaci v daném dni</a:t>
                </a:r>
                <a:endParaRPr lang="cs-CZ" dirty="0">
                  <a:effectLst/>
                </a:endParaRPr>
              </a:p>
            </c:rich>
          </c:tx>
          <c:layout>
            <c:manualLayout>
              <c:xMode val="edge"/>
              <c:yMode val="edge"/>
              <c:x val="2.72039458206043E-2"/>
              <c:y val="0.1226784091670097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423608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527928087982371"/>
          <c:y val="2.4852292975710399E-2"/>
          <c:w val="0.87466795309236889"/>
          <c:h val="0.90552881115878769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Bez očkování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trendline>
            <c:spPr>
              <a:ln w="31750" cap="rnd" cmpd="sng">
                <a:solidFill>
                  <a:srgbClr val="C00000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A$2:$A$326</c:f>
              <c:numCache>
                <c:formatCode>m/d/yyyy</c:formatCode>
                <c:ptCount val="325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  <c:pt idx="168">
                  <c:v>44396</c:v>
                </c:pt>
                <c:pt idx="169">
                  <c:v>44397</c:v>
                </c:pt>
                <c:pt idx="170">
                  <c:v>44398</c:v>
                </c:pt>
                <c:pt idx="171">
                  <c:v>44399</c:v>
                </c:pt>
                <c:pt idx="172">
                  <c:v>44400</c:v>
                </c:pt>
                <c:pt idx="173">
                  <c:v>44401</c:v>
                </c:pt>
                <c:pt idx="174">
                  <c:v>44402</c:v>
                </c:pt>
                <c:pt idx="175">
                  <c:v>44403</c:v>
                </c:pt>
                <c:pt idx="176">
                  <c:v>44404</c:v>
                </c:pt>
                <c:pt idx="177">
                  <c:v>44405</c:v>
                </c:pt>
                <c:pt idx="178">
                  <c:v>44406</c:v>
                </c:pt>
                <c:pt idx="179">
                  <c:v>44407</c:v>
                </c:pt>
                <c:pt idx="180">
                  <c:v>44408</c:v>
                </c:pt>
                <c:pt idx="181">
                  <c:v>44409</c:v>
                </c:pt>
                <c:pt idx="182">
                  <c:v>44410</c:v>
                </c:pt>
                <c:pt idx="183">
                  <c:v>44411</c:v>
                </c:pt>
                <c:pt idx="184">
                  <c:v>44412</c:v>
                </c:pt>
                <c:pt idx="185">
                  <c:v>44413</c:v>
                </c:pt>
                <c:pt idx="186">
                  <c:v>44414</c:v>
                </c:pt>
                <c:pt idx="187">
                  <c:v>44415</c:v>
                </c:pt>
                <c:pt idx="188">
                  <c:v>44416</c:v>
                </c:pt>
                <c:pt idx="189">
                  <c:v>44417</c:v>
                </c:pt>
                <c:pt idx="190">
                  <c:v>44418</c:v>
                </c:pt>
                <c:pt idx="191">
                  <c:v>44419</c:v>
                </c:pt>
                <c:pt idx="192">
                  <c:v>44420</c:v>
                </c:pt>
                <c:pt idx="193">
                  <c:v>44421</c:v>
                </c:pt>
                <c:pt idx="194">
                  <c:v>44422</c:v>
                </c:pt>
                <c:pt idx="195">
                  <c:v>44423</c:v>
                </c:pt>
                <c:pt idx="196">
                  <c:v>44424</c:v>
                </c:pt>
                <c:pt idx="197">
                  <c:v>44425</c:v>
                </c:pt>
                <c:pt idx="198">
                  <c:v>44426</c:v>
                </c:pt>
                <c:pt idx="199">
                  <c:v>44427</c:v>
                </c:pt>
                <c:pt idx="200">
                  <c:v>44428</c:v>
                </c:pt>
                <c:pt idx="201">
                  <c:v>44429</c:v>
                </c:pt>
                <c:pt idx="202">
                  <c:v>44430</c:v>
                </c:pt>
                <c:pt idx="203">
                  <c:v>44431</c:v>
                </c:pt>
                <c:pt idx="204">
                  <c:v>44432</c:v>
                </c:pt>
                <c:pt idx="205">
                  <c:v>44433</c:v>
                </c:pt>
                <c:pt idx="206">
                  <c:v>44434</c:v>
                </c:pt>
                <c:pt idx="207">
                  <c:v>44435</c:v>
                </c:pt>
                <c:pt idx="208">
                  <c:v>44436</c:v>
                </c:pt>
                <c:pt idx="209">
                  <c:v>44437</c:v>
                </c:pt>
                <c:pt idx="210">
                  <c:v>44438</c:v>
                </c:pt>
                <c:pt idx="211">
                  <c:v>44439</c:v>
                </c:pt>
                <c:pt idx="212">
                  <c:v>44440</c:v>
                </c:pt>
                <c:pt idx="213">
                  <c:v>44441</c:v>
                </c:pt>
                <c:pt idx="214">
                  <c:v>44442</c:v>
                </c:pt>
                <c:pt idx="215">
                  <c:v>44443</c:v>
                </c:pt>
                <c:pt idx="216">
                  <c:v>44444</c:v>
                </c:pt>
                <c:pt idx="217">
                  <c:v>44445</c:v>
                </c:pt>
                <c:pt idx="218">
                  <c:v>44446</c:v>
                </c:pt>
                <c:pt idx="219">
                  <c:v>44447</c:v>
                </c:pt>
                <c:pt idx="220">
                  <c:v>44448</c:v>
                </c:pt>
                <c:pt idx="221">
                  <c:v>44449</c:v>
                </c:pt>
                <c:pt idx="222">
                  <c:v>44450</c:v>
                </c:pt>
                <c:pt idx="223">
                  <c:v>44451</c:v>
                </c:pt>
                <c:pt idx="224">
                  <c:v>44452</c:v>
                </c:pt>
                <c:pt idx="225">
                  <c:v>44453</c:v>
                </c:pt>
                <c:pt idx="226">
                  <c:v>44454</c:v>
                </c:pt>
                <c:pt idx="227">
                  <c:v>44455</c:v>
                </c:pt>
                <c:pt idx="228">
                  <c:v>44456</c:v>
                </c:pt>
                <c:pt idx="229">
                  <c:v>44457</c:v>
                </c:pt>
                <c:pt idx="230">
                  <c:v>44458</c:v>
                </c:pt>
                <c:pt idx="231">
                  <c:v>44459</c:v>
                </c:pt>
                <c:pt idx="232">
                  <c:v>44460</c:v>
                </c:pt>
                <c:pt idx="233">
                  <c:v>44461</c:v>
                </c:pt>
                <c:pt idx="234">
                  <c:v>44462</c:v>
                </c:pt>
                <c:pt idx="235">
                  <c:v>44463</c:v>
                </c:pt>
                <c:pt idx="236">
                  <c:v>44464</c:v>
                </c:pt>
                <c:pt idx="237">
                  <c:v>44465</c:v>
                </c:pt>
                <c:pt idx="238">
                  <c:v>44466</c:v>
                </c:pt>
                <c:pt idx="239">
                  <c:v>44467</c:v>
                </c:pt>
                <c:pt idx="240">
                  <c:v>44468</c:v>
                </c:pt>
                <c:pt idx="241">
                  <c:v>44469</c:v>
                </c:pt>
                <c:pt idx="242">
                  <c:v>44470</c:v>
                </c:pt>
                <c:pt idx="243">
                  <c:v>44471</c:v>
                </c:pt>
                <c:pt idx="244">
                  <c:v>44472</c:v>
                </c:pt>
                <c:pt idx="245">
                  <c:v>44473</c:v>
                </c:pt>
                <c:pt idx="246">
                  <c:v>44474</c:v>
                </c:pt>
                <c:pt idx="247">
                  <c:v>44475</c:v>
                </c:pt>
                <c:pt idx="248">
                  <c:v>44476</c:v>
                </c:pt>
                <c:pt idx="249">
                  <c:v>44477</c:v>
                </c:pt>
                <c:pt idx="250">
                  <c:v>44478</c:v>
                </c:pt>
                <c:pt idx="251">
                  <c:v>44479</c:v>
                </c:pt>
                <c:pt idx="252">
                  <c:v>44480</c:v>
                </c:pt>
                <c:pt idx="253">
                  <c:v>44481</c:v>
                </c:pt>
                <c:pt idx="254">
                  <c:v>44482</c:v>
                </c:pt>
                <c:pt idx="255">
                  <c:v>44483</c:v>
                </c:pt>
                <c:pt idx="256">
                  <c:v>44484</c:v>
                </c:pt>
                <c:pt idx="257">
                  <c:v>44485</c:v>
                </c:pt>
                <c:pt idx="258">
                  <c:v>44486</c:v>
                </c:pt>
                <c:pt idx="259">
                  <c:v>44487</c:v>
                </c:pt>
                <c:pt idx="260">
                  <c:v>44488</c:v>
                </c:pt>
                <c:pt idx="261">
                  <c:v>44489</c:v>
                </c:pt>
                <c:pt idx="262">
                  <c:v>44490</c:v>
                </c:pt>
                <c:pt idx="263">
                  <c:v>44491</c:v>
                </c:pt>
                <c:pt idx="264">
                  <c:v>44492</c:v>
                </c:pt>
                <c:pt idx="265">
                  <c:v>44493</c:v>
                </c:pt>
                <c:pt idx="266">
                  <c:v>44494</c:v>
                </c:pt>
                <c:pt idx="267">
                  <c:v>44495</c:v>
                </c:pt>
                <c:pt idx="268">
                  <c:v>44496</c:v>
                </c:pt>
                <c:pt idx="269">
                  <c:v>44497</c:v>
                </c:pt>
                <c:pt idx="270">
                  <c:v>44498</c:v>
                </c:pt>
                <c:pt idx="271">
                  <c:v>44499</c:v>
                </c:pt>
                <c:pt idx="272">
                  <c:v>44500</c:v>
                </c:pt>
                <c:pt idx="273">
                  <c:v>44501</c:v>
                </c:pt>
                <c:pt idx="274">
                  <c:v>44502</c:v>
                </c:pt>
                <c:pt idx="275">
                  <c:v>44503</c:v>
                </c:pt>
                <c:pt idx="276">
                  <c:v>44504</c:v>
                </c:pt>
                <c:pt idx="277">
                  <c:v>44505</c:v>
                </c:pt>
                <c:pt idx="278">
                  <c:v>44506</c:v>
                </c:pt>
                <c:pt idx="279">
                  <c:v>44507</c:v>
                </c:pt>
                <c:pt idx="280">
                  <c:v>44508</c:v>
                </c:pt>
                <c:pt idx="281">
                  <c:v>44509</c:v>
                </c:pt>
                <c:pt idx="282">
                  <c:v>44510</c:v>
                </c:pt>
                <c:pt idx="283">
                  <c:v>44511</c:v>
                </c:pt>
                <c:pt idx="284">
                  <c:v>44512</c:v>
                </c:pt>
                <c:pt idx="285">
                  <c:v>44513</c:v>
                </c:pt>
                <c:pt idx="286">
                  <c:v>44514</c:v>
                </c:pt>
                <c:pt idx="287">
                  <c:v>44515</c:v>
                </c:pt>
                <c:pt idx="288">
                  <c:v>44516</c:v>
                </c:pt>
                <c:pt idx="289">
                  <c:v>44517</c:v>
                </c:pt>
                <c:pt idx="290">
                  <c:v>44518</c:v>
                </c:pt>
                <c:pt idx="291">
                  <c:v>44519</c:v>
                </c:pt>
                <c:pt idx="292">
                  <c:v>44520</c:v>
                </c:pt>
                <c:pt idx="293">
                  <c:v>44521</c:v>
                </c:pt>
                <c:pt idx="294">
                  <c:v>44522</c:v>
                </c:pt>
                <c:pt idx="295">
                  <c:v>44523</c:v>
                </c:pt>
                <c:pt idx="296">
                  <c:v>44524</c:v>
                </c:pt>
                <c:pt idx="297">
                  <c:v>44525</c:v>
                </c:pt>
                <c:pt idx="298">
                  <c:v>44526</c:v>
                </c:pt>
                <c:pt idx="299">
                  <c:v>44527</c:v>
                </c:pt>
                <c:pt idx="300">
                  <c:v>44528</c:v>
                </c:pt>
                <c:pt idx="301">
                  <c:v>44529</c:v>
                </c:pt>
                <c:pt idx="302">
                  <c:v>44530</c:v>
                </c:pt>
                <c:pt idx="303">
                  <c:v>44531</c:v>
                </c:pt>
                <c:pt idx="304">
                  <c:v>44532</c:v>
                </c:pt>
                <c:pt idx="305">
                  <c:v>44533</c:v>
                </c:pt>
                <c:pt idx="306">
                  <c:v>44534</c:v>
                </c:pt>
                <c:pt idx="307">
                  <c:v>44535</c:v>
                </c:pt>
                <c:pt idx="308">
                  <c:v>44536</c:v>
                </c:pt>
                <c:pt idx="309">
                  <c:v>44537</c:v>
                </c:pt>
                <c:pt idx="310">
                  <c:v>44538</c:v>
                </c:pt>
                <c:pt idx="311">
                  <c:v>44539</c:v>
                </c:pt>
                <c:pt idx="312">
                  <c:v>44540</c:v>
                </c:pt>
                <c:pt idx="313">
                  <c:v>44541</c:v>
                </c:pt>
                <c:pt idx="314">
                  <c:v>44542</c:v>
                </c:pt>
                <c:pt idx="315">
                  <c:v>44543</c:v>
                </c:pt>
                <c:pt idx="316">
                  <c:v>44544</c:v>
                </c:pt>
                <c:pt idx="317">
                  <c:v>44545</c:v>
                </c:pt>
                <c:pt idx="318">
                  <c:v>44546</c:v>
                </c:pt>
                <c:pt idx="319">
                  <c:v>44547</c:v>
                </c:pt>
                <c:pt idx="320">
                  <c:v>44548</c:v>
                </c:pt>
                <c:pt idx="321">
                  <c:v>44549</c:v>
                </c:pt>
                <c:pt idx="322">
                  <c:v>44550</c:v>
                </c:pt>
                <c:pt idx="323">
                  <c:v>44551</c:v>
                </c:pt>
                <c:pt idx="324">
                  <c:v>44552</c:v>
                </c:pt>
              </c:numCache>
            </c:numRef>
          </c:cat>
          <c:val>
            <c:numRef>
              <c:f>List1!$B$2:$B$326</c:f>
              <c:numCache>
                <c:formatCode>General</c:formatCode>
                <c:ptCount val="325"/>
                <c:pt idx="0">
                  <c:v>109.967880668517</c:v>
                </c:pt>
                <c:pt idx="1">
                  <c:v>142.31135535145401</c:v>
                </c:pt>
                <c:pt idx="2">
                  <c:v>146.34522067318801</c:v>
                </c:pt>
                <c:pt idx="3">
                  <c:v>87.203205545681996</c:v>
                </c:pt>
                <c:pt idx="4">
                  <c:v>111.72319196477901</c:v>
                </c:pt>
                <c:pt idx="5">
                  <c:v>50.986477499445002</c:v>
                </c:pt>
                <c:pt idx="6">
                  <c:v>42.207215212367998</c:v>
                </c:pt>
                <c:pt idx="7">
                  <c:v>139.71944335773699</c:v>
                </c:pt>
                <c:pt idx="8">
                  <c:v>165.98915989159801</c:v>
                </c:pt>
                <c:pt idx="9">
                  <c:v>146.558732266965</c:v>
                </c:pt>
                <c:pt idx="10">
                  <c:v>115.147074217523</c:v>
                </c:pt>
                <c:pt idx="11">
                  <c:v>119.742021150471</c:v>
                </c:pt>
                <c:pt idx="12">
                  <c:v>60.604620211045997</c:v>
                </c:pt>
                <c:pt idx="13">
                  <c:v>26.207635952111001</c:v>
                </c:pt>
                <c:pt idx="14">
                  <c:v>143.15176513405299</c:v>
                </c:pt>
                <c:pt idx="15">
                  <c:v>145.35967200894501</c:v>
                </c:pt>
                <c:pt idx="16">
                  <c:v>160.47888938419399</c:v>
                </c:pt>
                <c:pt idx="17">
                  <c:v>161.786963102134</c:v>
                </c:pt>
                <c:pt idx="18">
                  <c:v>138.25926270589301</c:v>
                </c:pt>
                <c:pt idx="19">
                  <c:v>73.270808909729993</c:v>
                </c:pt>
                <c:pt idx="20">
                  <c:v>40.069988913968999</c:v>
                </c:pt>
                <c:pt idx="21">
                  <c:v>158.89614710795399</c:v>
                </c:pt>
                <c:pt idx="22">
                  <c:v>198.377164584165</c:v>
                </c:pt>
                <c:pt idx="23">
                  <c:v>187.166522334273</c:v>
                </c:pt>
                <c:pt idx="24">
                  <c:v>197.87426503844401</c:v>
                </c:pt>
                <c:pt idx="25">
                  <c:v>190.14668458525099</c:v>
                </c:pt>
                <c:pt idx="26">
                  <c:v>103.066220046379</c:v>
                </c:pt>
                <c:pt idx="27">
                  <c:v>41.529428612343999</c:v>
                </c:pt>
                <c:pt idx="28">
                  <c:v>213.66287463186401</c:v>
                </c:pt>
                <c:pt idx="29">
                  <c:v>226.704644538743</c:v>
                </c:pt>
                <c:pt idx="30">
                  <c:v>226.34015274309601</c:v>
                </c:pt>
                <c:pt idx="31">
                  <c:v>207.06366106175099</c:v>
                </c:pt>
                <c:pt idx="32">
                  <c:v>181.595381867036</c:v>
                </c:pt>
                <c:pt idx="33">
                  <c:v>90.067476781785004</c:v>
                </c:pt>
                <c:pt idx="34">
                  <c:v>39.864755127050003</c:v>
                </c:pt>
                <c:pt idx="35">
                  <c:v>155.63164213615499</c:v>
                </c:pt>
                <c:pt idx="36">
                  <c:v>196.457806221163</c:v>
                </c:pt>
                <c:pt idx="37">
                  <c:v>176.22987544430799</c:v>
                </c:pt>
                <c:pt idx="38">
                  <c:v>148.5103957277</c:v>
                </c:pt>
                <c:pt idx="39">
                  <c:v>183.757079166164</c:v>
                </c:pt>
                <c:pt idx="40">
                  <c:v>87.355975600571995</c:v>
                </c:pt>
                <c:pt idx="41">
                  <c:v>42.175026359390998</c:v>
                </c:pt>
                <c:pt idx="42">
                  <c:v>138.966512091597</c:v>
                </c:pt>
                <c:pt idx="43">
                  <c:v>178.76079381911799</c:v>
                </c:pt>
                <c:pt idx="44">
                  <c:v>136.81138270704099</c:v>
                </c:pt>
                <c:pt idx="45">
                  <c:v>121.923340699535</c:v>
                </c:pt>
                <c:pt idx="46">
                  <c:v>100.959111559818</c:v>
                </c:pt>
                <c:pt idx="47">
                  <c:v>38.235653982625003</c:v>
                </c:pt>
                <c:pt idx="48">
                  <c:v>26.000244708185001</c:v>
                </c:pt>
                <c:pt idx="49">
                  <c:v>124.420140702282</c:v>
                </c:pt>
                <c:pt idx="50">
                  <c:v>106.451911506063</c:v>
                </c:pt>
                <c:pt idx="51">
                  <c:v>89.894606323619996</c:v>
                </c:pt>
                <c:pt idx="52">
                  <c:v>96.790308480079005</c:v>
                </c:pt>
                <c:pt idx="53">
                  <c:v>88.115431214891004</c:v>
                </c:pt>
                <c:pt idx="54">
                  <c:v>28.34377854061</c:v>
                </c:pt>
                <c:pt idx="55">
                  <c:v>11.033700072506999</c:v>
                </c:pt>
                <c:pt idx="56">
                  <c:v>98.638157057401003</c:v>
                </c:pt>
                <c:pt idx="57">
                  <c:v>117.220116898965</c:v>
                </c:pt>
                <c:pt idx="58">
                  <c:v>90.938616433907001</c:v>
                </c:pt>
                <c:pt idx="59">
                  <c:v>50.864699898269997</c:v>
                </c:pt>
                <c:pt idx="60">
                  <c:v>31.610820883106001</c:v>
                </c:pt>
                <c:pt idx="61">
                  <c:v>13.330889336954</c:v>
                </c:pt>
                <c:pt idx="62">
                  <c:v>26.688907422852001</c:v>
                </c:pt>
                <c:pt idx="63">
                  <c:v>15.197311764407001</c:v>
                </c:pt>
                <c:pt idx="64">
                  <c:v>82.106019397547001</c:v>
                </c:pt>
                <c:pt idx="65">
                  <c:v>69.354139575204997</c:v>
                </c:pt>
                <c:pt idx="66">
                  <c:v>73.808519611977999</c:v>
                </c:pt>
                <c:pt idx="67">
                  <c:v>59.007599463566997</c:v>
                </c:pt>
                <c:pt idx="68">
                  <c:v>23.297908564669001</c:v>
                </c:pt>
                <c:pt idx="69">
                  <c:v>7.1751452966920004</c:v>
                </c:pt>
                <c:pt idx="70">
                  <c:v>47.264993001145001</c:v>
                </c:pt>
                <c:pt idx="71">
                  <c:v>55.253706602816997</c:v>
                </c:pt>
                <c:pt idx="72">
                  <c:v>44.866522096761997</c:v>
                </c:pt>
                <c:pt idx="73">
                  <c:v>30.451829012979999</c:v>
                </c:pt>
                <c:pt idx="74">
                  <c:v>36.371989739269999</c:v>
                </c:pt>
                <c:pt idx="75">
                  <c:v>13.449640702455</c:v>
                </c:pt>
                <c:pt idx="76">
                  <c:v>7.7041602465330001</c:v>
                </c:pt>
                <c:pt idx="77">
                  <c:v>44.392117504003998</c:v>
                </c:pt>
                <c:pt idx="78">
                  <c:v>43.206724537490999</c:v>
                </c:pt>
                <c:pt idx="79">
                  <c:v>51.678559360774997</c:v>
                </c:pt>
                <c:pt idx="80">
                  <c:v>20.178376851366</c:v>
                </c:pt>
                <c:pt idx="81">
                  <c:v>28.758062528244</c:v>
                </c:pt>
                <c:pt idx="82">
                  <c:v>8.2754054948690001</c:v>
                </c:pt>
                <c:pt idx="83">
                  <c:v>4.1504108906779997</c:v>
                </c:pt>
                <c:pt idx="84">
                  <c:v>25.129837493717002</c:v>
                </c:pt>
                <c:pt idx="85">
                  <c:v>33.882512388293001</c:v>
                </c:pt>
                <c:pt idx="86">
                  <c:v>23.566210339139001</c:v>
                </c:pt>
                <c:pt idx="87">
                  <c:v>43.310667417384003</c:v>
                </c:pt>
                <c:pt idx="88">
                  <c:v>35.105425982402998</c:v>
                </c:pt>
                <c:pt idx="89">
                  <c:v>13.191451939143001</c:v>
                </c:pt>
                <c:pt idx="90">
                  <c:v>8.8129020886569993</c:v>
                </c:pt>
                <c:pt idx="91">
                  <c:v>22.172457373450001</c:v>
                </c:pt>
                <c:pt idx="92">
                  <c:v>31.240237425804001</c:v>
                </c:pt>
                <c:pt idx="93">
                  <c:v>24.694129531933001</c:v>
                </c:pt>
                <c:pt idx="94">
                  <c:v>29.352660931608</c:v>
                </c:pt>
                <c:pt idx="95">
                  <c:v>29.530689200853999</c:v>
                </c:pt>
                <c:pt idx="96">
                  <c:v>9.1041514930799998</c:v>
                </c:pt>
                <c:pt idx="97">
                  <c:v>4.5591319412780003</c:v>
                </c:pt>
                <c:pt idx="98">
                  <c:v>16.005853569305</c:v>
                </c:pt>
                <c:pt idx="99">
                  <c:v>29.857602204869</c:v>
                </c:pt>
                <c:pt idx="100">
                  <c:v>11.545477636409</c:v>
                </c:pt>
                <c:pt idx="101">
                  <c:v>23.187330442646001</c:v>
                </c:pt>
                <c:pt idx="102">
                  <c:v>18.616773713114998</c:v>
                </c:pt>
                <c:pt idx="103">
                  <c:v>11.643612314284001</c:v>
                </c:pt>
                <c:pt idx="104">
                  <c:v>4.6613527245600004</c:v>
                </c:pt>
                <c:pt idx="105">
                  <c:v>9.3433930531870004</c:v>
                </c:pt>
                <c:pt idx="106">
                  <c:v>11.702750146284</c:v>
                </c:pt>
                <c:pt idx="107">
                  <c:v>4.6919720358459998</c:v>
                </c:pt>
                <c:pt idx="108">
                  <c:v>14.111670351380001</c:v>
                </c:pt>
                <c:pt idx="109">
                  <c:v>9.4399735680740005</c:v>
                </c:pt>
                <c:pt idx="110">
                  <c:v>2.361107831794</c:v>
                </c:pt>
                <c:pt idx="111">
                  <c:v>0</c:v>
                </c:pt>
                <c:pt idx="112">
                  <c:v>9.4712665451180005</c:v>
                </c:pt>
                <c:pt idx="113">
                  <c:v>0</c:v>
                </c:pt>
                <c:pt idx="114">
                  <c:v>11.900794973104</c:v>
                </c:pt>
                <c:pt idx="115">
                  <c:v>0</c:v>
                </c:pt>
                <c:pt idx="116">
                  <c:v>2.3960704444709999</c:v>
                </c:pt>
                <c:pt idx="117">
                  <c:v>2.40900002409</c:v>
                </c:pt>
                <c:pt idx="118">
                  <c:v>0</c:v>
                </c:pt>
                <c:pt idx="119">
                  <c:v>2.4201940995659998</c:v>
                </c:pt>
                <c:pt idx="120">
                  <c:v>2.4383701933620001</c:v>
                </c:pt>
                <c:pt idx="121">
                  <c:v>2.453506060159</c:v>
                </c:pt>
                <c:pt idx="122">
                  <c:v>2.4780076818230001</c:v>
                </c:pt>
                <c:pt idx="123">
                  <c:v>4.9947555067170004</c:v>
                </c:pt>
                <c:pt idx="124">
                  <c:v>2.5028783100559999</c:v>
                </c:pt>
                <c:pt idx="125">
                  <c:v>0</c:v>
                </c:pt>
                <c:pt idx="126">
                  <c:v>2.5241689173830002</c:v>
                </c:pt>
                <c:pt idx="127">
                  <c:v>2.5422651582559999</c:v>
                </c:pt>
                <c:pt idx="128">
                  <c:v>5.120983228779</c:v>
                </c:pt>
                <c:pt idx="129">
                  <c:v>2.5829114577949999</c:v>
                </c:pt>
                <c:pt idx="131">
                  <c:v>2.617458447847</c:v>
                </c:pt>
                <c:pt idx="132">
                  <c:v>0</c:v>
                </c:pt>
                <c:pt idx="133">
                  <c:v>0</c:v>
                </c:pt>
                <c:pt idx="135">
                  <c:v>2.6788823702750002</c:v>
                </c:pt>
                <c:pt idx="136">
                  <c:v>5.3979649672069998</c:v>
                </c:pt>
                <c:pt idx="137">
                  <c:v>0</c:v>
                </c:pt>
                <c:pt idx="138">
                  <c:v>2.7330618491890002</c:v>
                </c:pt>
                <c:pt idx="139">
                  <c:v>2.7381506530480002</c:v>
                </c:pt>
                <c:pt idx="141">
                  <c:v>2.7690092484900002</c:v>
                </c:pt>
                <c:pt idx="142">
                  <c:v>5.5705651338319999</c:v>
                </c:pt>
                <c:pt idx="143">
                  <c:v>5.6085249579359999</c:v>
                </c:pt>
                <c:pt idx="145">
                  <c:v>2.8386510730099999</c:v>
                </c:pt>
                <c:pt idx="146">
                  <c:v>5.6877968318969998</c:v>
                </c:pt>
                <c:pt idx="147">
                  <c:v>0</c:v>
                </c:pt>
                <c:pt idx="148">
                  <c:v>2.8802672888040002</c:v>
                </c:pt>
                <c:pt idx="150">
                  <c:v>0</c:v>
                </c:pt>
                <c:pt idx="151">
                  <c:v>2.944207272191</c:v>
                </c:pt>
                <c:pt idx="153">
                  <c:v>0</c:v>
                </c:pt>
                <c:pt idx="154">
                  <c:v>0</c:v>
                </c:pt>
                <c:pt idx="155">
                  <c:v>2.997781641585</c:v>
                </c:pt>
                <c:pt idx="156">
                  <c:v>0</c:v>
                </c:pt>
                <c:pt idx="157">
                  <c:v>3.042287800425</c:v>
                </c:pt>
                <c:pt idx="158">
                  <c:v>12.278601467292001</c:v>
                </c:pt>
                <c:pt idx="159">
                  <c:v>0</c:v>
                </c:pt>
                <c:pt idx="161">
                  <c:v>3.104625892579</c:v>
                </c:pt>
                <c:pt idx="162">
                  <c:v>0</c:v>
                </c:pt>
                <c:pt idx="163">
                  <c:v>6.3011972274729997</c:v>
                </c:pt>
                <c:pt idx="164">
                  <c:v>3.1771247021439999</c:v>
                </c:pt>
                <c:pt idx="165">
                  <c:v>9.6110719548919992</c:v>
                </c:pt>
                <c:pt idx="166">
                  <c:v>3.2118194957439998</c:v>
                </c:pt>
                <c:pt idx="167">
                  <c:v>3.2167787177920002</c:v>
                </c:pt>
                <c:pt idx="168">
                  <c:v>6.4441293981180001</c:v>
                </c:pt>
                <c:pt idx="169">
                  <c:v>6.4566115702470004</c:v>
                </c:pt>
                <c:pt idx="170">
                  <c:v>3.2515038205160001</c:v>
                </c:pt>
                <c:pt idx="171">
                  <c:v>6.5479308538499996</c:v>
                </c:pt>
                <c:pt idx="172">
                  <c:v>3.29673952461</c:v>
                </c:pt>
                <c:pt idx="173">
                  <c:v>0</c:v>
                </c:pt>
                <c:pt idx="174">
                  <c:v>6.620981891614</c:v>
                </c:pt>
                <c:pt idx="175">
                  <c:v>6.6611157368849998</c:v>
                </c:pt>
                <c:pt idx="176">
                  <c:v>3.3492983220010002</c:v>
                </c:pt>
                <c:pt idx="177">
                  <c:v>0</c:v>
                </c:pt>
                <c:pt idx="178">
                  <c:v>10.193333559851</c:v>
                </c:pt>
                <c:pt idx="179">
                  <c:v>0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  <c:pt idx="183">
                  <c:v>3.5005425841000002</c:v>
                </c:pt>
                <c:pt idx="184">
                  <c:v>7.0564160462899999</c:v>
                </c:pt>
                <c:pt idx="185">
                  <c:v>0</c:v>
                </c:pt>
                <c:pt idx="186">
                  <c:v>7.1671743415150004</c:v>
                </c:pt>
                <c:pt idx="187">
                  <c:v>3.5978988270840002</c:v>
                </c:pt>
                <c:pt idx="188">
                  <c:v>0</c:v>
                </c:pt>
                <c:pt idx="189">
                  <c:v>21.779374931939</c:v>
                </c:pt>
                <c:pt idx="190">
                  <c:v>0</c:v>
                </c:pt>
                <c:pt idx="191">
                  <c:v>0</c:v>
                </c:pt>
                <c:pt idx="192">
                  <c:v>7.4126236981569997</c:v>
                </c:pt>
                <c:pt idx="193">
                  <c:v>14.919249561747</c:v>
                </c:pt>
                <c:pt idx="194">
                  <c:v>7.4785925288859998</c:v>
                </c:pt>
                <c:pt idx="195">
                  <c:v>3.7489690335149999</c:v>
                </c:pt>
                <c:pt idx="196">
                  <c:v>0</c:v>
                </c:pt>
                <c:pt idx="197">
                  <c:v>3.7917567208879999</c:v>
                </c:pt>
                <c:pt idx="198">
                  <c:v>3.814901003318</c:v>
                </c:pt>
                <c:pt idx="199">
                  <c:v>0</c:v>
                </c:pt>
                <c:pt idx="200">
                  <c:v>7.7300660920649999</c:v>
                </c:pt>
                <c:pt idx="201">
                  <c:v>3.8774718883279999</c:v>
                </c:pt>
                <c:pt idx="202">
                  <c:v>3.8863627530990001</c:v>
                </c:pt>
                <c:pt idx="203">
                  <c:v>0</c:v>
                </c:pt>
                <c:pt idx="204">
                  <c:v>7.8842590767529996</c:v>
                </c:pt>
                <c:pt idx="205">
                  <c:v>7.9399737980860001</c:v>
                </c:pt>
                <c:pt idx="206">
                  <c:v>7.9846694346850002</c:v>
                </c:pt>
                <c:pt idx="207">
                  <c:v>4.0238210204409999</c:v>
                </c:pt>
                <c:pt idx="208">
                  <c:v>0</c:v>
                </c:pt>
                <c:pt idx="209">
                  <c:v>4.0395879620270003</c:v>
                </c:pt>
                <c:pt idx="210">
                  <c:v>0</c:v>
                </c:pt>
                <c:pt idx="211">
                  <c:v>4.0874718986299996</c:v>
                </c:pt>
                <c:pt idx="212">
                  <c:v>4.1131951299759999</c:v>
                </c:pt>
                <c:pt idx="213">
                  <c:v>12.407974191413</c:v>
                </c:pt>
                <c:pt idx="214">
                  <c:v>12.508860442813001</c:v>
                </c:pt>
                <c:pt idx="215">
                  <c:v>16.721009948999999</c:v>
                </c:pt>
                <c:pt idx="216">
                  <c:v>4.1874293371290001</c:v>
                </c:pt>
                <c:pt idx="217">
                  <c:v>12.648621300278</c:v>
                </c:pt>
                <c:pt idx="218">
                  <c:v>8.4788875699500004</c:v>
                </c:pt>
                <c:pt idx="219">
                  <c:v>4.2625745950549998</c:v>
                </c:pt>
                <c:pt idx="220">
                  <c:v>4.2808219178079998</c:v>
                </c:pt>
                <c:pt idx="221">
                  <c:v>4.3057050592030004</c:v>
                </c:pt>
                <c:pt idx="222">
                  <c:v>0</c:v>
                </c:pt>
                <c:pt idx="223">
                  <c:v>4.3179757329759996</c:v>
                </c:pt>
                <c:pt idx="224">
                  <c:v>0</c:v>
                </c:pt>
                <c:pt idx="225">
                  <c:v>0</c:v>
                </c:pt>
                <c:pt idx="226">
                  <c:v>4.3633824941089996</c:v>
                </c:pt>
                <c:pt idx="227">
                  <c:v>17.505470459518001</c:v>
                </c:pt>
                <c:pt idx="228">
                  <c:v>13.171759747102</c:v>
                </c:pt>
                <c:pt idx="229">
                  <c:v>0</c:v>
                </c:pt>
                <c:pt idx="230">
                  <c:v>21.986720021107001</c:v>
                </c:pt>
                <c:pt idx="231">
                  <c:v>17.640573318632001</c:v>
                </c:pt>
                <c:pt idx="232">
                  <c:v>13.257910553296</c:v>
                </c:pt>
                <c:pt idx="233">
                  <c:v>13.284328919984</c:v>
                </c:pt>
                <c:pt idx="234">
                  <c:v>13.310852781968</c:v>
                </c:pt>
                <c:pt idx="235">
                  <c:v>22.251891410769002</c:v>
                </c:pt>
                <c:pt idx="236">
                  <c:v>13.360053440212999</c:v>
                </c:pt>
                <c:pt idx="237">
                  <c:v>8.9126559714789995</c:v>
                </c:pt>
                <c:pt idx="238">
                  <c:v>8.9305648582269992</c:v>
                </c:pt>
                <c:pt idx="239">
                  <c:v>17.895490336435</c:v>
                </c:pt>
                <c:pt idx="240">
                  <c:v>22.417503586799999</c:v>
                </c:pt>
                <c:pt idx="241">
                  <c:v>44.909507342704003</c:v>
                </c:pt>
                <c:pt idx="242">
                  <c:v>49.558479005225998</c:v>
                </c:pt>
                <c:pt idx="243">
                  <c:v>18.033452053558999</c:v>
                </c:pt>
                <c:pt idx="244">
                  <c:v>18.047283883774998</c:v>
                </c:pt>
                <c:pt idx="245">
                  <c:v>27.133360466692999</c:v>
                </c:pt>
                <c:pt idx="246">
                  <c:v>36.240090600225997</c:v>
                </c:pt>
                <c:pt idx="247">
                  <c:v>31.757553761000999</c:v>
                </c:pt>
                <c:pt idx="248">
                  <c:v>27.270248159257999</c:v>
                </c:pt>
                <c:pt idx="249">
                  <c:v>22.791503327558999</c:v>
                </c:pt>
                <c:pt idx="250">
                  <c:v>18.249007710204999</c:v>
                </c:pt>
                <c:pt idx="251">
                  <c:v>13.697379234773001</c:v>
                </c:pt>
                <c:pt idx="252">
                  <c:v>45.747746923464</c:v>
                </c:pt>
                <c:pt idx="253">
                  <c:v>82.387403881362005</c:v>
                </c:pt>
                <c:pt idx="254">
                  <c:v>32.102728731942001</c:v>
                </c:pt>
                <c:pt idx="255">
                  <c:v>45.968557506665</c:v>
                </c:pt>
                <c:pt idx="256">
                  <c:v>13.818516812527999</c:v>
                </c:pt>
                <c:pt idx="257">
                  <c:v>23.047847331059</c:v>
                </c:pt>
                <c:pt idx="258">
                  <c:v>27.672723918456999</c:v>
                </c:pt>
                <c:pt idx="259">
                  <c:v>124.786245782687</c:v>
                </c:pt>
                <c:pt idx="260">
                  <c:v>97.213220998054993</c:v>
                </c:pt>
                <c:pt idx="261">
                  <c:v>125.17965598776</c:v>
                </c:pt>
                <c:pt idx="262">
                  <c:v>129.978646365239</c:v>
                </c:pt>
                <c:pt idx="263">
                  <c:v>83.759888320147994</c:v>
                </c:pt>
                <c:pt idx="264">
                  <c:v>74.505238649592002</c:v>
                </c:pt>
                <c:pt idx="265">
                  <c:v>41.928721174003996</c:v>
                </c:pt>
                <c:pt idx="266">
                  <c:v>149.33034672639801</c:v>
                </c:pt>
                <c:pt idx="267">
                  <c:v>201.05671669705799</c:v>
                </c:pt>
                <c:pt idx="268">
                  <c:v>168.54721662999199</c:v>
                </c:pt>
                <c:pt idx="269">
                  <c:v>107.874865156418</c:v>
                </c:pt>
                <c:pt idx="270">
                  <c:v>188.03177737037501</c:v>
                </c:pt>
                <c:pt idx="271">
                  <c:v>136.41923040737601</c:v>
                </c:pt>
                <c:pt idx="272">
                  <c:v>80.015061658665005</c:v>
                </c:pt>
                <c:pt idx="273">
                  <c:v>273.32704995287401</c:v>
                </c:pt>
                <c:pt idx="274">
                  <c:v>292.452830188679</c:v>
                </c:pt>
                <c:pt idx="275">
                  <c:v>255.102040816326</c:v>
                </c:pt>
                <c:pt idx="276">
                  <c:v>255.657608181043</c:v>
                </c:pt>
                <c:pt idx="277">
                  <c:v>270.55249667742498</c:v>
                </c:pt>
                <c:pt idx="278">
                  <c:v>99.752992589776994</c:v>
                </c:pt>
                <c:pt idx="279">
                  <c:v>61.807635620215002</c:v>
                </c:pt>
                <c:pt idx="280">
                  <c:v>214.36737804878001</c:v>
                </c:pt>
                <c:pt idx="281">
                  <c:v>291.39199388554499</c:v>
                </c:pt>
                <c:pt idx="282">
                  <c:v>287.56290438533398</c:v>
                </c:pt>
                <c:pt idx="283">
                  <c:v>259.030076269966</c:v>
                </c:pt>
                <c:pt idx="284">
                  <c:v>394.51527543901801</c:v>
                </c:pt>
                <c:pt idx="285">
                  <c:v>154.16486004721199</c:v>
                </c:pt>
                <c:pt idx="286">
                  <c:v>106.090562762212</c:v>
                </c:pt>
                <c:pt idx="287">
                  <c:v>328.851919914885</c:v>
                </c:pt>
                <c:pt idx="288">
                  <c:v>392.91777831675898</c:v>
                </c:pt>
                <c:pt idx="289">
                  <c:v>330.77147582449601</c:v>
                </c:pt>
                <c:pt idx="290">
                  <c:v>361.04605776736901</c:v>
                </c:pt>
                <c:pt idx="291">
                  <c:v>661.27847171197595</c:v>
                </c:pt>
                <c:pt idx="292">
                  <c:v>313.97174254317099</c:v>
                </c:pt>
                <c:pt idx="293">
                  <c:v>201.296150824823</c:v>
                </c:pt>
                <c:pt idx="294">
                  <c:v>428.46589509972898</c:v>
                </c:pt>
                <c:pt idx="295">
                  <c:v>523.30173775671403</c:v>
                </c:pt>
                <c:pt idx="296">
                  <c:v>410.72842438638099</c:v>
                </c:pt>
                <c:pt idx="297">
                  <c:v>610.633967134984</c:v>
                </c:pt>
                <c:pt idx="298">
                  <c:v>369.24305174392401</c:v>
                </c:pt>
                <c:pt idx="299">
                  <c:v>254.92352294311701</c:v>
                </c:pt>
                <c:pt idx="300">
                  <c:v>165.16516516516501</c:v>
                </c:pt>
                <c:pt idx="301">
                  <c:v>487.82941058137101</c:v>
                </c:pt>
                <c:pt idx="302">
                  <c:v>510.384557077164</c:v>
                </c:pt>
                <c:pt idx="303">
                  <c:v>379.47783849423098</c:v>
                </c:pt>
                <c:pt idx="304">
                  <c:v>325.31896507904202</c:v>
                </c:pt>
                <c:pt idx="305">
                  <c:v>312.37197869725497</c:v>
                </c:pt>
                <c:pt idx="306">
                  <c:v>235.84905660377299</c:v>
                </c:pt>
                <c:pt idx="307">
                  <c:v>107.775211701308</c:v>
                </c:pt>
                <c:pt idx="308">
                  <c:v>417.99979358034801</c:v>
                </c:pt>
                <c:pt idx="309">
                  <c:v>393.94567696454402</c:v>
                </c:pt>
                <c:pt idx="310">
                  <c:v>364.81134042109602</c:v>
                </c:pt>
                <c:pt idx="311">
                  <c:v>257.15035423773202</c:v>
                </c:pt>
                <c:pt idx="312">
                  <c:v>253.72660957817899</c:v>
                </c:pt>
                <c:pt idx="313">
                  <c:v>143.000900376039</c:v>
                </c:pt>
                <c:pt idx="314">
                  <c:v>127.22646310432501</c:v>
                </c:pt>
                <c:pt idx="315">
                  <c:v>282.35043418038401</c:v>
                </c:pt>
                <c:pt idx="316">
                  <c:v>449.29396662387597</c:v>
                </c:pt>
                <c:pt idx="317">
                  <c:v>247.16565472032599</c:v>
                </c:pt>
                <c:pt idx="318">
                  <c:v>237.49122901710999</c:v>
                </c:pt>
                <c:pt idx="319">
                  <c:v>250.05435964340001</c:v>
                </c:pt>
                <c:pt idx="320">
                  <c:v>147.01878573373199</c:v>
                </c:pt>
                <c:pt idx="321">
                  <c:v>108.991825613079</c:v>
                </c:pt>
                <c:pt idx="322">
                  <c:v>279.25313475332598</c:v>
                </c:pt>
                <c:pt idx="323">
                  <c:v>231.15024766097901</c:v>
                </c:pt>
                <c:pt idx="324">
                  <c:v>71.7360114777609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3D6-4329-ABC8-2C99E0955191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Ukončené očkování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trendline>
            <c:spPr>
              <a:ln w="28575" cap="rnd">
                <a:solidFill>
                  <a:schemeClr val="accent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A$2:$A$326</c:f>
              <c:numCache>
                <c:formatCode>m/d/yyyy</c:formatCode>
                <c:ptCount val="325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  <c:pt idx="168">
                  <c:v>44396</c:v>
                </c:pt>
                <c:pt idx="169">
                  <c:v>44397</c:v>
                </c:pt>
                <c:pt idx="170">
                  <c:v>44398</c:v>
                </c:pt>
                <c:pt idx="171">
                  <c:v>44399</c:v>
                </c:pt>
                <c:pt idx="172">
                  <c:v>44400</c:v>
                </c:pt>
                <c:pt idx="173">
                  <c:v>44401</c:v>
                </c:pt>
                <c:pt idx="174">
                  <c:v>44402</c:v>
                </c:pt>
                <c:pt idx="175">
                  <c:v>44403</c:v>
                </c:pt>
                <c:pt idx="176">
                  <c:v>44404</c:v>
                </c:pt>
                <c:pt idx="177">
                  <c:v>44405</c:v>
                </c:pt>
                <c:pt idx="178">
                  <c:v>44406</c:v>
                </c:pt>
                <c:pt idx="179">
                  <c:v>44407</c:v>
                </c:pt>
                <c:pt idx="180">
                  <c:v>44408</c:v>
                </c:pt>
                <c:pt idx="181">
                  <c:v>44409</c:v>
                </c:pt>
                <c:pt idx="182">
                  <c:v>44410</c:v>
                </c:pt>
                <c:pt idx="183">
                  <c:v>44411</c:v>
                </c:pt>
                <c:pt idx="184">
                  <c:v>44412</c:v>
                </c:pt>
                <c:pt idx="185">
                  <c:v>44413</c:v>
                </c:pt>
                <c:pt idx="186">
                  <c:v>44414</c:v>
                </c:pt>
                <c:pt idx="187">
                  <c:v>44415</c:v>
                </c:pt>
                <c:pt idx="188">
                  <c:v>44416</c:v>
                </c:pt>
                <c:pt idx="189">
                  <c:v>44417</c:v>
                </c:pt>
                <c:pt idx="190">
                  <c:v>44418</c:v>
                </c:pt>
                <c:pt idx="191">
                  <c:v>44419</c:v>
                </c:pt>
                <c:pt idx="192">
                  <c:v>44420</c:v>
                </c:pt>
                <c:pt idx="193">
                  <c:v>44421</c:v>
                </c:pt>
                <c:pt idx="194">
                  <c:v>44422</c:v>
                </c:pt>
                <c:pt idx="195">
                  <c:v>44423</c:v>
                </c:pt>
                <c:pt idx="196">
                  <c:v>44424</c:v>
                </c:pt>
                <c:pt idx="197">
                  <c:v>44425</c:v>
                </c:pt>
                <c:pt idx="198">
                  <c:v>44426</c:v>
                </c:pt>
                <c:pt idx="199">
                  <c:v>44427</c:v>
                </c:pt>
                <c:pt idx="200">
                  <c:v>44428</c:v>
                </c:pt>
                <c:pt idx="201">
                  <c:v>44429</c:v>
                </c:pt>
                <c:pt idx="202">
                  <c:v>44430</c:v>
                </c:pt>
                <c:pt idx="203">
                  <c:v>44431</c:v>
                </c:pt>
                <c:pt idx="204">
                  <c:v>44432</c:v>
                </c:pt>
                <c:pt idx="205">
                  <c:v>44433</c:v>
                </c:pt>
                <c:pt idx="206">
                  <c:v>44434</c:v>
                </c:pt>
                <c:pt idx="207">
                  <c:v>44435</c:v>
                </c:pt>
                <c:pt idx="208">
                  <c:v>44436</c:v>
                </c:pt>
                <c:pt idx="209">
                  <c:v>44437</c:v>
                </c:pt>
                <c:pt idx="210">
                  <c:v>44438</c:v>
                </c:pt>
                <c:pt idx="211">
                  <c:v>44439</c:v>
                </c:pt>
                <c:pt idx="212">
                  <c:v>44440</c:v>
                </c:pt>
                <c:pt idx="213">
                  <c:v>44441</c:v>
                </c:pt>
                <c:pt idx="214">
                  <c:v>44442</c:v>
                </c:pt>
                <c:pt idx="215">
                  <c:v>44443</c:v>
                </c:pt>
                <c:pt idx="216">
                  <c:v>44444</c:v>
                </c:pt>
                <c:pt idx="217">
                  <c:v>44445</c:v>
                </c:pt>
                <c:pt idx="218">
                  <c:v>44446</c:v>
                </c:pt>
                <c:pt idx="219">
                  <c:v>44447</c:v>
                </c:pt>
                <c:pt idx="220">
                  <c:v>44448</c:v>
                </c:pt>
                <c:pt idx="221">
                  <c:v>44449</c:v>
                </c:pt>
                <c:pt idx="222">
                  <c:v>44450</c:v>
                </c:pt>
                <c:pt idx="223">
                  <c:v>44451</c:v>
                </c:pt>
                <c:pt idx="224">
                  <c:v>44452</c:v>
                </c:pt>
                <c:pt idx="225">
                  <c:v>44453</c:v>
                </c:pt>
                <c:pt idx="226">
                  <c:v>44454</c:v>
                </c:pt>
                <c:pt idx="227">
                  <c:v>44455</c:v>
                </c:pt>
                <c:pt idx="228">
                  <c:v>44456</c:v>
                </c:pt>
                <c:pt idx="229">
                  <c:v>44457</c:v>
                </c:pt>
                <c:pt idx="230">
                  <c:v>44458</c:v>
                </c:pt>
                <c:pt idx="231">
                  <c:v>44459</c:v>
                </c:pt>
                <c:pt idx="232">
                  <c:v>44460</c:v>
                </c:pt>
                <c:pt idx="233">
                  <c:v>44461</c:v>
                </c:pt>
                <c:pt idx="234">
                  <c:v>44462</c:v>
                </c:pt>
                <c:pt idx="235">
                  <c:v>44463</c:v>
                </c:pt>
                <c:pt idx="236">
                  <c:v>44464</c:v>
                </c:pt>
                <c:pt idx="237">
                  <c:v>44465</c:v>
                </c:pt>
                <c:pt idx="238">
                  <c:v>44466</c:v>
                </c:pt>
                <c:pt idx="239">
                  <c:v>44467</c:v>
                </c:pt>
                <c:pt idx="240">
                  <c:v>44468</c:v>
                </c:pt>
                <c:pt idx="241">
                  <c:v>44469</c:v>
                </c:pt>
                <c:pt idx="242">
                  <c:v>44470</c:v>
                </c:pt>
                <c:pt idx="243">
                  <c:v>44471</c:v>
                </c:pt>
                <c:pt idx="244">
                  <c:v>44472</c:v>
                </c:pt>
                <c:pt idx="245">
                  <c:v>44473</c:v>
                </c:pt>
                <c:pt idx="246">
                  <c:v>44474</c:v>
                </c:pt>
                <c:pt idx="247">
                  <c:v>44475</c:v>
                </c:pt>
                <c:pt idx="248">
                  <c:v>44476</c:v>
                </c:pt>
                <c:pt idx="249">
                  <c:v>44477</c:v>
                </c:pt>
                <c:pt idx="250">
                  <c:v>44478</c:v>
                </c:pt>
                <c:pt idx="251">
                  <c:v>44479</c:v>
                </c:pt>
                <c:pt idx="252">
                  <c:v>44480</c:v>
                </c:pt>
                <c:pt idx="253">
                  <c:v>44481</c:v>
                </c:pt>
                <c:pt idx="254">
                  <c:v>44482</c:v>
                </c:pt>
                <c:pt idx="255">
                  <c:v>44483</c:v>
                </c:pt>
                <c:pt idx="256">
                  <c:v>44484</c:v>
                </c:pt>
                <c:pt idx="257">
                  <c:v>44485</c:v>
                </c:pt>
                <c:pt idx="258">
                  <c:v>44486</c:v>
                </c:pt>
                <c:pt idx="259">
                  <c:v>44487</c:v>
                </c:pt>
                <c:pt idx="260">
                  <c:v>44488</c:v>
                </c:pt>
                <c:pt idx="261">
                  <c:v>44489</c:v>
                </c:pt>
                <c:pt idx="262">
                  <c:v>44490</c:v>
                </c:pt>
                <c:pt idx="263">
                  <c:v>44491</c:v>
                </c:pt>
                <c:pt idx="264">
                  <c:v>44492</c:v>
                </c:pt>
                <c:pt idx="265">
                  <c:v>44493</c:v>
                </c:pt>
                <c:pt idx="266">
                  <c:v>44494</c:v>
                </c:pt>
                <c:pt idx="267">
                  <c:v>44495</c:v>
                </c:pt>
                <c:pt idx="268">
                  <c:v>44496</c:v>
                </c:pt>
                <c:pt idx="269">
                  <c:v>44497</c:v>
                </c:pt>
                <c:pt idx="270">
                  <c:v>44498</c:v>
                </c:pt>
                <c:pt idx="271">
                  <c:v>44499</c:v>
                </c:pt>
                <c:pt idx="272">
                  <c:v>44500</c:v>
                </c:pt>
                <c:pt idx="273">
                  <c:v>44501</c:v>
                </c:pt>
                <c:pt idx="274">
                  <c:v>44502</c:v>
                </c:pt>
                <c:pt idx="275">
                  <c:v>44503</c:v>
                </c:pt>
                <c:pt idx="276">
                  <c:v>44504</c:v>
                </c:pt>
                <c:pt idx="277">
                  <c:v>44505</c:v>
                </c:pt>
                <c:pt idx="278">
                  <c:v>44506</c:v>
                </c:pt>
                <c:pt idx="279">
                  <c:v>44507</c:v>
                </c:pt>
                <c:pt idx="280">
                  <c:v>44508</c:v>
                </c:pt>
                <c:pt idx="281">
                  <c:v>44509</c:v>
                </c:pt>
                <c:pt idx="282">
                  <c:v>44510</c:v>
                </c:pt>
                <c:pt idx="283">
                  <c:v>44511</c:v>
                </c:pt>
                <c:pt idx="284">
                  <c:v>44512</c:v>
                </c:pt>
                <c:pt idx="285">
                  <c:v>44513</c:v>
                </c:pt>
                <c:pt idx="286">
                  <c:v>44514</c:v>
                </c:pt>
                <c:pt idx="287">
                  <c:v>44515</c:v>
                </c:pt>
                <c:pt idx="288">
                  <c:v>44516</c:v>
                </c:pt>
                <c:pt idx="289">
                  <c:v>44517</c:v>
                </c:pt>
                <c:pt idx="290">
                  <c:v>44518</c:v>
                </c:pt>
                <c:pt idx="291">
                  <c:v>44519</c:v>
                </c:pt>
                <c:pt idx="292">
                  <c:v>44520</c:v>
                </c:pt>
                <c:pt idx="293">
                  <c:v>44521</c:v>
                </c:pt>
                <c:pt idx="294">
                  <c:v>44522</c:v>
                </c:pt>
                <c:pt idx="295">
                  <c:v>44523</c:v>
                </c:pt>
                <c:pt idx="296">
                  <c:v>44524</c:v>
                </c:pt>
                <c:pt idx="297">
                  <c:v>44525</c:v>
                </c:pt>
                <c:pt idx="298">
                  <c:v>44526</c:v>
                </c:pt>
                <c:pt idx="299">
                  <c:v>44527</c:v>
                </c:pt>
                <c:pt idx="300">
                  <c:v>44528</c:v>
                </c:pt>
                <c:pt idx="301">
                  <c:v>44529</c:v>
                </c:pt>
                <c:pt idx="302">
                  <c:v>44530</c:v>
                </c:pt>
                <c:pt idx="303">
                  <c:v>44531</c:v>
                </c:pt>
                <c:pt idx="304">
                  <c:v>44532</c:v>
                </c:pt>
                <c:pt idx="305">
                  <c:v>44533</c:v>
                </c:pt>
                <c:pt idx="306">
                  <c:v>44534</c:v>
                </c:pt>
                <c:pt idx="307">
                  <c:v>44535</c:v>
                </c:pt>
                <c:pt idx="308">
                  <c:v>44536</c:v>
                </c:pt>
                <c:pt idx="309">
                  <c:v>44537</c:v>
                </c:pt>
                <c:pt idx="310">
                  <c:v>44538</c:v>
                </c:pt>
                <c:pt idx="311">
                  <c:v>44539</c:v>
                </c:pt>
                <c:pt idx="312">
                  <c:v>44540</c:v>
                </c:pt>
                <c:pt idx="313">
                  <c:v>44541</c:v>
                </c:pt>
                <c:pt idx="314">
                  <c:v>44542</c:v>
                </c:pt>
                <c:pt idx="315">
                  <c:v>44543</c:v>
                </c:pt>
                <c:pt idx="316">
                  <c:v>44544</c:v>
                </c:pt>
                <c:pt idx="317">
                  <c:v>44545</c:v>
                </c:pt>
                <c:pt idx="318">
                  <c:v>44546</c:v>
                </c:pt>
                <c:pt idx="319">
                  <c:v>44547</c:v>
                </c:pt>
                <c:pt idx="320">
                  <c:v>44548</c:v>
                </c:pt>
                <c:pt idx="321">
                  <c:v>44549</c:v>
                </c:pt>
                <c:pt idx="322">
                  <c:v>44550</c:v>
                </c:pt>
                <c:pt idx="323">
                  <c:v>44551</c:v>
                </c:pt>
                <c:pt idx="324">
                  <c:v>44552</c:v>
                </c:pt>
              </c:numCache>
            </c:numRef>
          </c:cat>
          <c:val>
            <c:numRef>
              <c:f>List1!$C$2:$C$326</c:f>
              <c:numCache>
                <c:formatCode>General</c:formatCode>
                <c:ptCount val="32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54.629882545751997</c:v>
                </c:pt>
                <c:pt idx="9">
                  <c:v>0</c:v>
                </c:pt>
                <c:pt idx="10">
                  <c:v>16.064257028111999</c:v>
                </c:pt>
                <c:pt idx="11">
                  <c:v>12.746972594008</c:v>
                </c:pt>
                <c:pt idx="12">
                  <c:v>12.450199203186999</c:v>
                </c:pt>
                <c:pt idx="13">
                  <c:v>0</c:v>
                </c:pt>
                <c:pt idx="14">
                  <c:v>10.271158586687999</c:v>
                </c:pt>
                <c:pt idx="15">
                  <c:v>25.71575518601</c:v>
                </c:pt>
                <c:pt idx="16">
                  <c:v>0</c:v>
                </c:pt>
                <c:pt idx="17">
                  <c:v>25.816445075512998</c:v>
                </c:pt>
                <c:pt idx="18">
                  <c:v>17.743080198722001</c:v>
                </c:pt>
                <c:pt idx="19">
                  <c:v>11.726078799249001</c:v>
                </c:pt>
                <c:pt idx="20">
                  <c:v>0</c:v>
                </c:pt>
                <c:pt idx="21">
                  <c:v>5.4147714966420004</c:v>
                </c:pt>
                <c:pt idx="22">
                  <c:v>35.891914064501997</c:v>
                </c:pt>
                <c:pt idx="23">
                  <c:v>4.8806676753370004</c:v>
                </c:pt>
                <c:pt idx="24">
                  <c:v>18.759966232059998</c:v>
                </c:pt>
                <c:pt idx="25">
                  <c:v>40.690840039786004</c:v>
                </c:pt>
                <c:pt idx="26">
                  <c:v>13.515339910798</c:v>
                </c:pt>
                <c:pt idx="27">
                  <c:v>4.501260352898</c:v>
                </c:pt>
                <c:pt idx="28">
                  <c:v>8.7777046302390005</c:v>
                </c:pt>
                <c:pt idx="29">
                  <c:v>25.808671713694999</c:v>
                </c:pt>
                <c:pt idx="30">
                  <c:v>33.918426185024998</c:v>
                </c:pt>
                <c:pt idx="31">
                  <c:v>8.3371545291589992</c:v>
                </c:pt>
                <c:pt idx="32">
                  <c:v>8.2078220544170009</c:v>
                </c:pt>
                <c:pt idx="33">
                  <c:v>24.601254663987</c:v>
                </c:pt>
                <c:pt idx="34">
                  <c:v>4.0978568208819999</c:v>
                </c:pt>
                <c:pt idx="35">
                  <c:v>16.206142127865999</c:v>
                </c:pt>
                <c:pt idx="36">
                  <c:v>8.0080080080079998</c:v>
                </c:pt>
                <c:pt idx="37">
                  <c:v>11.89390635531</c:v>
                </c:pt>
                <c:pt idx="38">
                  <c:v>23.497160759741</c:v>
                </c:pt>
                <c:pt idx="39">
                  <c:v>23.236000309813001</c:v>
                </c:pt>
                <c:pt idx="40">
                  <c:v>3.870718018192</c:v>
                </c:pt>
                <c:pt idx="41">
                  <c:v>7.7351485148509997</c:v>
                </c:pt>
                <c:pt idx="42">
                  <c:v>30.699566368625</c:v>
                </c:pt>
                <c:pt idx="43">
                  <c:v>7.613536868552</c:v>
                </c:pt>
                <c:pt idx="44">
                  <c:v>0</c:v>
                </c:pt>
                <c:pt idx="45">
                  <c:v>22.475277195084999</c:v>
                </c:pt>
                <c:pt idx="46">
                  <c:v>22.260146916968999</c:v>
                </c:pt>
                <c:pt idx="47">
                  <c:v>3.7091988130560001</c:v>
                </c:pt>
                <c:pt idx="48">
                  <c:v>3.7069988137599998</c:v>
                </c:pt>
                <c:pt idx="49">
                  <c:v>14.665982254160999</c:v>
                </c:pt>
                <c:pt idx="50">
                  <c:v>25.386233408283001</c:v>
                </c:pt>
                <c:pt idx="51">
                  <c:v>21.513858510523001</c:v>
                </c:pt>
                <c:pt idx="52">
                  <c:v>14.099897775741001</c:v>
                </c:pt>
                <c:pt idx="53">
                  <c:v>0</c:v>
                </c:pt>
                <c:pt idx="54">
                  <c:v>3.454112120479</c:v>
                </c:pt>
                <c:pt idx="55">
                  <c:v>0</c:v>
                </c:pt>
                <c:pt idx="56">
                  <c:v>13.498009043666</c:v>
                </c:pt>
                <c:pt idx="57">
                  <c:v>16.539861065166999</c:v>
                </c:pt>
                <c:pt idx="58">
                  <c:v>16.158743496105</c:v>
                </c:pt>
                <c:pt idx="59">
                  <c:v>6.3271116735210002</c:v>
                </c:pt>
                <c:pt idx="60">
                  <c:v>3.0785333866940001</c:v>
                </c:pt>
                <c:pt idx="61">
                  <c:v>9.1993499126059994</c:v>
                </c:pt>
                <c:pt idx="62">
                  <c:v>0</c:v>
                </c:pt>
                <c:pt idx="63">
                  <c:v>0</c:v>
                </c:pt>
                <c:pt idx="64">
                  <c:v>2.9187706138170002</c:v>
                </c:pt>
                <c:pt idx="65">
                  <c:v>11.402508551881001</c:v>
                </c:pt>
                <c:pt idx="66">
                  <c:v>5.5733593423430001</c:v>
                </c:pt>
                <c:pt idx="67">
                  <c:v>2.7102474455909999</c:v>
                </c:pt>
                <c:pt idx="68">
                  <c:v>5.397236614853</c:v>
                </c:pt>
                <c:pt idx="69">
                  <c:v>0</c:v>
                </c:pt>
                <c:pt idx="70">
                  <c:v>2.6376177036900001</c:v>
                </c:pt>
                <c:pt idx="71">
                  <c:v>5.1733057423690001</c:v>
                </c:pt>
                <c:pt idx="72">
                  <c:v>2.5319019647549998</c:v>
                </c:pt>
                <c:pt idx="73">
                  <c:v>7.4112502779209999</c:v>
                </c:pt>
                <c:pt idx="74">
                  <c:v>4.8999191513340001</c:v>
                </c:pt>
                <c:pt idx="75">
                  <c:v>4.8730568685730002</c:v>
                </c:pt>
                <c:pt idx="76">
                  <c:v>2.4271255552039999</c:v>
                </c:pt>
                <c:pt idx="77">
                  <c:v>7.2563674624479999</c:v>
                </c:pt>
                <c:pt idx="78">
                  <c:v>4.7314880529919998</c:v>
                </c:pt>
                <c:pt idx="79">
                  <c:v>4.6609182008849999</c:v>
                </c:pt>
                <c:pt idx="80">
                  <c:v>4.5770779934089996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8.7652021474739996</c:v>
                </c:pt>
                <c:pt idx="85">
                  <c:v>8.6583834798039998</c:v>
                </c:pt>
                <c:pt idx="86">
                  <c:v>4.2756055326329996</c:v>
                </c:pt>
                <c:pt idx="87">
                  <c:v>6.3412881269939998</c:v>
                </c:pt>
                <c:pt idx="88">
                  <c:v>2.0858102329850001</c:v>
                </c:pt>
                <c:pt idx="89">
                  <c:v>0</c:v>
                </c:pt>
                <c:pt idx="90">
                  <c:v>0</c:v>
                </c:pt>
                <c:pt idx="91">
                  <c:v>6.1941238411819999</c:v>
                </c:pt>
                <c:pt idx="92">
                  <c:v>6.1585203128519996</c:v>
                </c:pt>
                <c:pt idx="93">
                  <c:v>0</c:v>
                </c:pt>
                <c:pt idx="94">
                  <c:v>2.0314880650070002</c:v>
                </c:pt>
                <c:pt idx="95">
                  <c:v>4.0415471042310003</c:v>
                </c:pt>
                <c:pt idx="96">
                  <c:v>0</c:v>
                </c:pt>
                <c:pt idx="97">
                  <c:v>0</c:v>
                </c:pt>
                <c:pt idx="98">
                  <c:v>4.0197773043370004</c:v>
                </c:pt>
                <c:pt idx="99">
                  <c:v>4.0047255761790002</c:v>
                </c:pt>
                <c:pt idx="100">
                  <c:v>7.9732100143510003</c:v>
                </c:pt>
                <c:pt idx="101">
                  <c:v>1.9864523946679999</c:v>
                </c:pt>
                <c:pt idx="102">
                  <c:v>1.9805902158840001</c:v>
                </c:pt>
                <c:pt idx="103">
                  <c:v>0</c:v>
                </c:pt>
                <c:pt idx="104">
                  <c:v>1.9785133450720001</c:v>
                </c:pt>
                <c:pt idx="105">
                  <c:v>7.9002982362580001</c:v>
                </c:pt>
                <c:pt idx="106">
                  <c:v>3.9439174932459999</c:v>
                </c:pt>
                <c:pt idx="107">
                  <c:v>1.96838769364</c:v>
                </c:pt>
                <c:pt idx="108">
                  <c:v>3.9288871427159999</c:v>
                </c:pt>
                <c:pt idx="109">
                  <c:v>0</c:v>
                </c:pt>
                <c:pt idx="110">
                  <c:v>0</c:v>
                </c:pt>
                <c:pt idx="111">
                  <c:v>0</c:v>
                </c:pt>
                <c:pt idx="112">
                  <c:v>1.95453745871</c:v>
                </c:pt>
                <c:pt idx="113">
                  <c:v>0</c:v>
                </c:pt>
                <c:pt idx="114">
                  <c:v>1.9466993712159999</c:v>
                </c:pt>
                <c:pt idx="115">
                  <c:v>1.940956114982</c:v>
                </c:pt>
                <c:pt idx="116">
                  <c:v>1.9366708627860001</c:v>
                </c:pt>
                <c:pt idx="117">
                  <c:v>1.9285287254350001</c:v>
                </c:pt>
                <c:pt idx="118">
                  <c:v>0</c:v>
                </c:pt>
                <c:pt idx="119">
                  <c:v>1.9218942189420001</c:v>
                </c:pt>
                <c:pt idx="120">
                  <c:v>0</c:v>
                </c:pt>
                <c:pt idx="121">
                  <c:v>0</c:v>
                </c:pt>
                <c:pt idx="122">
                  <c:v>1.8871485185879999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1.8614347939389999</c:v>
                </c:pt>
                <c:pt idx="127">
                  <c:v>0</c:v>
                </c:pt>
                <c:pt idx="128">
                  <c:v>0</c:v>
                </c:pt>
                <c:pt idx="129">
                  <c:v>0</c:v>
                </c:pt>
                <c:pt idx="131">
                  <c:v>0</c:v>
                </c:pt>
                <c:pt idx="132">
                  <c:v>0</c:v>
                </c:pt>
                <c:pt idx="133">
                  <c:v>0</c:v>
                </c:pt>
                <c:pt idx="135">
                  <c:v>0</c:v>
                </c:pt>
                <c:pt idx="136">
                  <c:v>0</c:v>
                </c:pt>
                <c:pt idx="137">
                  <c:v>0</c:v>
                </c:pt>
                <c:pt idx="138">
                  <c:v>0</c:v>
                </c:pt>
                <c:pt idx="139">
                  <c:v>0</c:v>
                </c:pt>
                <c:pt idx="141">
                  <c:v>0</c:v>
                </c:pt>
                <c:pt idx="142">
                  <c:v>0</c:v>
                </c:pt>
                <c:pt idx="143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</c:v>
                </c:pt>
                <c:pt idx="148">
                  <c:v>0</c:v>
                </c:pt>
                <c:pt idx="150">
                  <c:v>0</c:v>
                </c:pt>
                <c:pt idx="151">
                  <c:v>1.6849767473199999</c:v>
                </c:pt>
                <c:pt idx="153">
                  <c:v>0</c:v>
                </c:pt>
                <c:pt idx="154">
                  <c:v>0</c:v>
                </c:pt>
                <c:pt idx="155">
                  <c:v>0</c:v>
                </c:pt>
                <c:pt idx="156">
                  <c:v>1.6599438938960001</c:v>
                </c:pt>
                <c:pt idx="157">
                  <c:v>4.959415450232</c:v>
                </c:pt>
                <c:pt idx="158">
                  <c:v>0</c:v>
                </c:pt>
                <c:pt idx="159">
                  <c:v>0</c:v>
                </c:pt>
                <c:pt idx="161">
                  <c:v>3.2688818789530001</c:v>
                </c:pt>
                <c:pt idx="162">
                  <c:v>0</c:v>
                </c:pt>
                <c:pt idx="163">
                  <c:v>3.2431205305740001</c:v>
                </c:pt>
                <c:pt idx="164">
                  <c:v>1.614413483581</c:v>
                </c:pt>
                <c:pt idx="165">
                  <c:v>3.214917215881</c:v>
                </c:pt>
                <c:pt idx="166">
                  <c:v>0</c:v>
                </c:pt>
                <c:pt idx="167">
                  <c:v>0</c:v>
                </c:pt>
                <c:pt idx="168">
                  <c:v>3.2045119528289998</c:v>
                </c:pt>
                <c:pt idx="169">
                  <c:v>4.801536491677</c:v>
                </c:pt>
                <c:pt idx="170">
                  <c:v>0</c:v>
                </c:pt>
                <c:pt idx="171">
                  <c:v>1.5891177218400001</c:v>
                </c:pt>
                <c:pt idx="172">
                  <c:v>1.5836065054549999</c:v>
                </c:pt>
                <c:pt idx="173">
                  <c:v>0</c:v>
                </c:pt>
                <c:pt idx="174">
                  <c:v>0</c:v>
                </c:pt>
                <c:pt idx="175">
                  <c:v>1.5753241229379999</c:v>
                </c:pt>
                <c:pt idx="176">
                  <c:v>4.7129055062439997</c:v>
                </c:pt>
                <c:pt idx="177">
                  <c:v>1.5652146691910001</c:v>
                </c:pt>
                <c:pt idx="178">
                  <c:v>1.5601354197540001</c:v>
                </c:pt>
                <c:pt idx="179">
                  <c:v>1.554533018281</c:v>
                </c:pt>
                <c:pt idx="180">
                  <c:v>1.5528673695969999</c:v>
                </c:pt>
                <c:pt idx="181">
                  <c:v>1.550676094777</c:v>
                </c:pt>
                <c:pt idx="182">
                  <c:v>3.0909034710840002</c:v>
                </c:pt>
                <c:pt idx="183">
                  <c:v>4.6202180742929997</c:v>
                </c:pt>
                <c:pt idx="184">
                  <c:v>1.535131484011</c:v>
                </c:pt>
                <c:pt idx="185">
                  <c:v>1.530409231428</c:v>
                </c:pt>
                <c:pt idx="186">
                  <c:v>1.5255762864419999</c:v>
                </c:pt>
                <c:pt idx="187">
                  <c:v>0</c:v>
                </c:pt>
                <c:pt idx="188">
                  <c:v>0</c:v>
                </c:pt>
                <c:pt idx="189">
                  <c:v>3.036698501389</c:v>
                </c:pt>
                <c:pt idx="190">
                  <c:v>1.514256727085</c:v>
                </c:pt>
                <c:pt idx="191">
                  <c:v>1.5099581741579999</c:v>
                </c:pt>
                <c:pt idx="192">
                  <c:v>0</c:v>
                </c:pt>
                <c:pt idx="193">
                  <c:v>3.005710850616</c:v>
                </c:pt>
                <c:pt idx="194">
                  <c:v>0</c:v>
                </c:pt>
                <c:pt idx="195">
                  <c:v>0</c:v>
                </c:pt>
                <c:pt idx="196">
                  <c:v>1.497342217563</c:v>
                </c:pt>
                <c:pt idx="197">
                  <c:v>0</c:v>
                </c:pt>
                <c:pt idx="198">
                  <c:v>0</c:v>
                </c:pt>
                <c:pt idx="199">
                  <c:v>0</c:v>
                </c:pt>
                <c:pt idx="200">
                  <c:v>1.484252085374</c:v>
                </c:pt>
                <c:pt idx="201">
                  <c:v>1.482755552919</c:v>
                </c:pt>
                <c:pt idx="202">
                  <c:v>1.4817888154579999</c:v>
                </c:pt>
                <c:pt idx="203">
                  <c:v>1.4778252323879999</c:v>
                </c:pt>
                <c:pt idx="204">
                  <c:v>1.4744913005010001</c:v>
                </c:pt>
                <c:pt idx="205">
                  <c:v>4.4128030124729998</c:v>
                </c:pt>
                <c:pt idx="206">
                  <c:v>0</c:v>
                </c:pt>
                <c:pt idx="207">
                  <c:v>1.464321799358</c:v>
                </c:pt>
                <c:pt idx="208">
                  <c:v>0</c:v>
                </c:pt>
                <c:pt idx="209">
                  <c:v>0</c:v>
                </c:pt>
                <c:pt idx="210">
                  <c:v>1.4596409283309999</c:v>
                </c:pt>
                <c:pt idx="211">
                  <c:v>0</c:v>
                </c:pt>
                <c:pt idx="212">
                  <c:v>1.454185874038</c:v>
                </c:pt>
                <c:pt idx="213">
                  <c:v>2.9029261495580001</c:v>
                </c:pt>
                <c:pt idx="214">
                  <c:v>4.3423509488030003</c:v>
                </c:pt>
                <c:pt idx="215">
                  <c:v>1.446278003557</c:v>
                </c:pt>
                <c:pt idx="216">
                  <c:v>0</c:v>
                </c:pt>
                <c:pt idx="217">
                  <c:v>2.8844212408779999</c:v>
                </c:pt>
                <c:pt idx="218">
                  <c:v>2.8791892203149998</c:v>
                </c:pt>
                <c:pt idx="219">
                  <c:v>0</c:v>
                </c:pt>
                <c:pt idx="220">
                  <c:v>2.8701404933769998</c:v>
                </c:pt>
                <c:pt idx="221">
                  <c:v>1.4323979774540001</c:v>
                </c:pt>
                <c:pt idx="222">
                  <c:v>0</c:v>
                </c:pt>
                <c:pt idx="223">
                  <c:v>2.862458852154</c:v>
                </c:pt>
                <c:pt idx="224">
                  <c:v>2.859430401464</c:v>
                </c:pt>
                <c:pt idx="225">
                  <c:v>4.2835724994640003</c:v>
                </c:pt>
                <c:pt idx="226">
                  <c:v>5.7062968986270004</c:v>
                </c:pt>
                <c:pt idx="227">
                  <c:v>4.2758797622609999</c:v>
                </c:pt>
                <c:pt idx="228">
                  <c:v>1.42387264883</c:v>
                </c:pt>
                <c:pt idx="229">
                  <c:v>2.847096673167</c:v>
                </c:pt>
                <c:pt idx="230">
                  <c:v>1.4233457164409999</c:v>
                </c:pt>
                <c:pt idx="231">
                  <c:v>5.688443926163</c:v>
                </c:pt>
                <c:pt idx="232">
                  <c:v>8.5274512869339993</c:v>
                </c:pt>
                <c:pt idx="233">
                  <c:v>7.1021718441489998</c:v>
                </c:pt>
                <c:pt idx="234">
                  <c:v>5.6784304818139999</c:v>
                </c:pt>
                <c:pt idx="235">
                  <c:v>0</c:v>
                </c:pt>
                <c:pt idx="236">
                  <c:v>1.418117873957</c:v>
                </c:pt>
                <c:pt idx="237">
                  <c:v>0</c:v>
                </c:pt>
                <c:pt idx="238">
                  <c:v>7.0854648773499997</c:v>
                </c:pt>
                <c:pt idx="239">
                  <c:v>2.832660576446</c:v>
                </c:pt>
                <c:pt idx="240">
                  <c:v>5.6617928066919996</c:v>
                </c:pt>
                <c:pt idx="241">
                  <c:v>2.8296147479520002</c:v>
                </c:pt>
                <c:pt idx="242">
                  <c:v>0</c:v>
                </c:pt>
                <c:pt idx="243">
                  <c:v>0</c:v>
                </c:pt>
                <c:pt idx="244">
                  <c:v>4.2401628222519996</c:v>
                </c:pt>
                <c:pt idx="245">
                  <c:v>5.6501963443219996</c:v>
                </c:pt>
                <c:pt idx="246">
                  <c:v>7.0598534374420003</c:v>
                </c:pt>
                <c:pt idx="247">
                  <c:v>8.4690737656320003</c:v>
                </c:pt>
                <c:pt idx="248">
                  <c:v>14.108949306545</c:v>
                </c:pt>
                <c:pt idx="249">
                  <c:v>7.0490046805390003</c:v>
                </c:pt>
                <c:pt idx="250">
                  <c:v>5.638408841025</c:v>
                </c:pt>
                <c:pt idx="251">
                  <c:v>2.8188865398159999</c:v>
                </c:pt>
                <c:pt idx="252">
                  <c:v>12.679092176999999</c:v>
                </c:pt>
                <c:pt idx="253">
                  <c:v>18.313728252447</c:v>
                </c:pt>
                <c:pt idx="254">
                  <c:v>15.488812852898</c:v>
                </c:pt>
                <c:pt idx="255">
                  <c:v>12.665174990501001</c:v>
                </c:pt>
                <c:pt idx="256">
                  <c:v>15.472037808034001</c:v>
                </c:pt>
                <c:pt idx="257">
                  <c:v>5.625720795476</c:v>
                </c:pt>
                <c:pt idx="258">
                  <c:v>9.84459601997</c:v>
                </c:pt>
                <c:pt idx="259">
                  <c:v>16.867910206491</c:v>
                </c:pt>
                <c:pt idx="260">
                  <c:v>47.774951873760998</c:v>
                </c:pt>
                <c:pt idx="261">
                  <c:v>32.307454593979003</c:v>
                </c:pt>
                <c:pt idx="262">
                  <c:v>36.512751376249</c:v>
                </c:pt>
                <c:pt idx="263">
                  <c:v>39.297694067450998</c:v>
                </c:pt>
                <c:pt idx="264">
                  <c:v>16.840450762732001</c:v>
                </c:pt>
                <c:pt idx="265">
                  <c:v>18.243565634734999</c:v>
                </c:pt>
                <c:pt idx="266">
                  <c:v>68.738163709055002</c:v>
                </c:pt>
                <c:pt idx="267">
                  <c:v>61.696369729517002</c:v>
                </c:pt>
                <c:pt idx="268">
                  <c:v>40.652685880900997</c:v>
                </c:pt>
                <c:pt idx="269">
                  <c:v>25.222447978700998</c:v>
                </c:pt>
                <c:pt idx="270">
                  <c:v>60.220715926277997</c:v>
                </c:pt>
                <c:pt idx="271">
                  <c:v>36.409466461279003</c:v>
                </c:pt>
                <c:pt idx="272">
                  <c:v>35.007631663702</c:v>
                </c:pt>
                <c:pt idx="273">
                  <c:v>109.194758651584</c:v>
                </c:pt>
                <c:pt idx="274">
                  <c:v>92.378752886835997</c:v>
                </c:pt>
                <c:pt idx="275">
                  <c:v>74.156988946411005</c:v>
                </c:pt>
                <c:pt idx="276">
                  <c:v>85.303947754828002</c:v>
                </c:pt>
                <c:pt idx="277">
                  <c:v>106.21052043154999</c:v>
                </c:pt>
                <c:pt idx="278">
                  <c:v>47.508593466171</c:v>
                </c:pt>
                <c:pt idx="279">
                  <c:v>36.324010170721998</c:v>
                </c:pt>
                <c:pt idx="280">
                  <c:v>117.298776741328</c:v>
                </c:pt>
                <c:pt idx="281">
                  <c:v>124.192400541423</c:v>
                </c:pt>
                <c:pt idx="282">
                  <c:v>115.719762983617</c:v>
                </c:pt>
                <c:pt idx="283">
                  <c:v>93.396712993294003</c:v>
                </c:pt>
                <c:pt idx="284">
                  <c:v>122.576331624693</c:v>
                </c:pt>
                <c:pt idx="285">
                  <c:v>90.512859788617007</c:v>
                </c:pt>
                <c:pt idx="286">
                  <c:v>43.159858547044003</c:v>
                </c:pt>
                <c:pt idx="287">
                  <c:v>136.34213528478799</c:v>
                </c:pt>
                <c:pt idx="288">
                  <c:v>166.81726558698799</c:v>
                </c:pt>
                <c:pt idx="289">
                  <c:v>105.577550878655</c:v>
                </c:pt>
                <c:pt idx="290">
                  <c:v>127.706829539144</c:v>
                </c:pt>
                <c:pt idx="291">
                  <c:v>167.78988823252001</c:v>
                </c:pt>
                <c:pt idx="292">
                  <c:v>84.560148604063997</c:v>
                </c:pt>
                <c:pt idx="293">
                  <c:v>69.301990353161997</c:v>
                </c:pt>
                <c:pt idx="294">
                  <c:v>163.425848983435</c:v>
                </c:pt>
                <c:pt idx="295">
                  <c:v>152.25756443263199</c:v>
                </c:pt>
                <c:pt idx="296">
                  <c:v>139.72083500490999</c:v>
                </c:pt>
                <c:pt idx="297">
                  <c:v>192.134909116041</c:v>
                </c:pt>
                <c:pt idx="298">
                  <c:v>115.956433511409</c:v>
                </c:pt>
                <c:pt idx="299">
                  <c:v>92.453324869943998</c:v>
                </c:pt>
                <c:pt idx="300">
                  <c:v>68.976934113232005</c:v>
                </c:pt>
                <c:pt idx="301">
                  <c:v>155.69670832357301</c:v>
                </c:pt>
                <c:pt idx="302">
                  <c:v>123.856051744306</c:v>
                </c:pt>
                <c:pt idx="303">
                  <c:v>132.087673193081</c:v>
                </c:pt>
                <c:pt idx="304">
                  <c:v>92.077234934377003</c:v>
                </c:pt>
                <c:pt idx="305">
                  <c:v>137.164803511418</c:v>
                </c:pt>
                <c:pt idx="306">
                  <c:v>74.049695573473002</c:v>
                </c:pt>
                <c:pt idx="307">
                  <c:v>61.695389297905997</c:v>
                </c:pt>
                <c:pt idx="308">
                  <c:v>161.55310031352201</c:v>
                </c:pt>
                <c:pt idx="309">
                  <c:v>125.817127540275</c:v>
                </c:pt>
                <c:pt idx="310">
                  <c:v>98.332445609865999</c:v>
                </c:pt>
                <c:pt idx="311">
                  <c:v>91.342876618950001</c:v>
                </c:pt>
                <c:pt idx="312">
                  <c:v>69.404752184207993</c:v>
                </c:pt>
                <c:pt idx="313">
                  <c:v>69.374540903772996</c:v>
                </c:pt>
                <c:pt idx="314">
                  <c:v>50.322334956341003</c:v>
                </c:pt>
                <c:pt idx="315">
                  <c:v>93.732170511044004</c:v>
                </c:pt>
                <c:pt idx="316">
                  <c:v>119.42729185044401</c:v>
                </c:pt>
                <c:pt idx="317">
                  <c:v>69.138480309089005</c:v>
                </c:pt>
                <c:pt idx="318">
                  <c:v>60.939277395589997</c:v>
                </c:pt>
                <c:pt idx="319">
                  <c:v>68.946870352844996</c:v>
                </c:pt>
                <c:pt idx="320">
                  <c:v>50.002027109206999</c:v>
                </c:pt>
                <c:pt idx="321">
                  <c:v>29.726917723999001</c:v>
                </c:pt>
                <c:pt idx="322">
                  <c:v>72.885313609307005</c:v>
                </c:pt>
                <c:pt idx="323">
                  <c:v>70.102592447793</c:v>
                </c:pt>
                <c:pt idx="324">
                  <c:v>41.7677175963349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3D6-4329-ABC8-2C99E095519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42360815"/>
        <c:axId val="692383071"/>
      </c:lineChart>
      <c:dateAx>
        <c:axId val="442360815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692383071"/>
        <c:crosses val="autoZero"/>
        <c:auto val="1"/>
        <c:lblOffset val="100"/>
        <c:baseTimeUnit val="days"/>
      </c:dateAx>
      <c:valAx>
        <c:axId val="692383071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sz="1800" b="0" i="0" baseline="0" dirty="0">
                    <a:effectLst/>
                  </a:rPr>
                  <a:t>Počet nově pozitivních na 100 tis. dané kategorie v populaci v daném dni</a:t>
                </a:r>
                <a:endParaRPr lang="cs-CZ" dirty="0">
                  <a:effectLst/>
                </a:endParaRPr>
              </a:p>
            </c:rich>
          </c:tx>
          <c:layout>
            <c:manualLayout>
              <c:xMode val="edge"/>
              <c:yMode val="edge"/>
              <c:x val="2.72039458206043E-2"/>
              <c:y val="0.1226784091670097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423608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527928087982371"/>
          <c:y val="2.4852292975710399E-2"/>
          <c:w val="0.87466795309236889"/>
          <c:h val="0.90552881115878769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Bez očkování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trendline>
            <c:spPr>
              <a:ln w="31750" cap="rnd" cmpd="sng">
                <a:solidFill>
                  <a:srgbClr val="C00000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A$2:$A$326</c:f>
              <c:numCache>
                <c:formatCode>m/d/yyyy</c:formatCode>
                <c:ptCount val="325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  <c:pt idx="168">
                  <c:v>44396</c:v>
                </c:pt>
                <c:pt idx="169">
                  <c:v>44397</c:v>
                </c:pt>
                <c:pt idx="170">
                  <c:v>44398</c:v>
                </c:pt>
                <c:pt idx="171">
                  <c:v>44399</c:v>
                </c:pt>
                <c:pt idx="172">
                  <c:v>44400</c:v>
                </c:pt>
                <c:pt idx="173">
                  <c:v>44401</c:v>
                </c:pt>
                <c:pt idx="174">
                  <c:v>44402</c:v>
                </c:pt>
                <c:pt idx="175">
                  <c:v>44403</c:v>
                </c:pt>
                <c:pt idx="176">
                  <c:v>44404</c:v>
                </c:pt>
                <c:pt idx="177">
                  <c:v>44405</c:v>
                </c:pt>
                <c:pt idx="178">
                  <c:v>44406</c:v>
                </c:pt>
                <c:pt idx="179">
                  <c:v>44407</c:v>
                </c:pt>
                <c:pt idx="180">
                  <c:v>44408</c:v>
                </c:pt>
                <c:pt idx="181">
                  <c:v>44409</c:v>
                </c:pt>
                <c:pt idx="182">
                  <c:v>44410</c:v>
                </c:pt>
                <c:pt idx="183">
                  <c:v>44411</c:v>
                </c:pt>
                <c:pt idx="184">
                  <c:v>44412</c:v>
                </c:pt>
                <c:pt idx="185">
                  <c:v>44413</c:v>
                </c:pt>
                <c:pt idx="186">
                  <c:v>44414</c:v>
                </c:pt>
                <c:pt idx="187">
                  <c:v>44415</c:v>
                </c:pt>
                <c:pt idx="188">
                  <c:v>44416</c:v>
                </c:pt>
                <c:pt idx="189">
                  <c:v>44417</c:v>
                </c:pt>
                <c:pt idx="190">
                  <c:v>44418</c:v>
                </c:pt>
                <c:pt idx="191">
                  <c:v>44419</c:v>
                </c:pt>
                <c:pt idx="192">
                  <c:v>44420</c:v>
                </c:pt>
                <c:pt idx="193">
                  <c:v>44421</c:v>
                </c:pt>
                <c:pt idx="194">
                  <c:v>44422</c:v>
                </c:pt>
                <c:pt idx="195">
                  <c:v>44423</c:v>
                </c:pt>
                <c:pt idx="196">
                  <c:v>44424</c:v>
                </c:pt>
                <c:pt idx="197">
                  <c:v>44425</c:v>
                </c:pt>
                <c:pt idx="198">
                  <c:v>44426</c:v>
                </c:pt>
                <c:pt idx="199">
                  <c:v>44427</c:v>
                </c:pt>
                <c:pt idx="200">
                  <c:v>44428</c:v>
                </c:pt>
                <c:pt idx="201">
                  <c:v>44429</c:v>
                </c:pt>
                <c:pt idx="202">
                  <c:v>44430</c:v>
                </c:pt>
                <c:pt idx="203">
                  <c:v>44431</c:v>
                </c:pt>
                <c:pt idx="204">
                  <c:v>44432</c:v>
                </c:pt>
                <c:pt idx="205">
                  <c:v>44433</c:v>
                </c:pt>
                <c:pt idx="206">
                  <c:v>44434</c:v>
                </c:pt>
                <c:pt idx="207">
                  <c:v>44435</c:v>
                </c:pt>
                <c:pt idx="208">
                  <c:v>44436</c:v>
                </c:pt>
                <c:pt idx="209">
                  <c:v>44437</c:v>
                </c:pt>
                <c:pt idx="210">
                  <c:v>44438</c:v>
                </c:pt>
                <c:pt idx="211">
                  <c:v>44439</c:v>
                </c:pt>
                <c:pt idx="212">
                  <c:v>44440</c:v>
                </c:pt>
                <c:pt idx="213">
                  <c:v>44441</c:v>
                </c:pt>
                <c:pt idx="214">
                  <c:v>44442</c:v>
                </c:pt>
                <c:pt idx="215">
                  <c:v>44443</c:v>
                </c:pt>
                <c:pt idx="216">
                  <c:v>44444</c:v>
                </c:pt>
                <c:pt idx="217">
                  <c:v>44445</c:v>
                </c:pt>
                <c:pt idx="218">
                  <c:v>44446</c:v>
                </c:pt>
                <c:pt idx="219">
                  <c:v>44447</c:v>
                </c:pt>
                <c:pt idx="220">
                  <c:v>44448</c:v>
                </c:pt>
                <c:pt idx="221">
                  <c:v>44449</c:v>
                </c:pt>
                <c:pt idx="222">
                  <c:v>44450</c:v>
                </c:pt>
                <c:pt idx="223">
                  <c:v>44451</c:v>
                </c:pt>
                <c:pt idx="224">
                  <c:v>44452</c:v>
                </c:pt>
                <c:pt idx="225">
                  <c:v>44453</c:v>
                </c:pt>
                <c:pt idx="226">
                  <c:v>44454</c:v>
                </c:pt>
                <c:pt idx="227">
                  <c:v>44455</c:v>
                </c:pt>
                <c:pt idx="228">
                  <c:v>44456</c:v>
                </c:pt>
                <c:pt idx="229">
                  <c:v>44457</c:v>
                </c:pt>
                <c:pt idx="230">
                  <c:v>44458</c:v>
                </c:pt>
                <c:pt idx="231">
                  <c:v>44459</c:v>
                </c:pt>
                <c:pt idx="232">
                  <c:v>44460</c:v>
                </c:pt>
                <c:pt idx="233">
                  <c:v>44461</c:v>
                </c:pt>
                <c:pt idx="234">
                  <c:v>44462</c:v>
                </c:pt>
                <c:pt idx="235">
                  <c:v>44463</c:v>
                </c:pt>
                <c:pt idx="236">
                  <c:v>44464</c:v>
                </c:pt>
                <c:pt idx="237">
                  <c:v>44465</c:v>
                </c:pt>
                <c:pt idx="238">
                  <c:v>44466</c:v>
                </c:pt>
                <c:pt idx="239">
                  <c:v>44467</c:v>
                </c:pt>
                <c:pt idx="240">
                  <c:v>44468</c:v>
                </c:pt>
                <c:pt idx="241">
                  <c:v>44469</c:v>
                </c:pt>
                <c:pt idx="242">
                  <c:v>44470</c:v>
                </c:pt>
                <c:pt idx="243">
                  <c:v>44471</c:v>
                </c:pt>
                <c:pt idx="244">
                  <c:v>44472</c:v>
                </c:pt>
                <c:pt idx="245">
                  <c:v>44473</c:v>
                </c:pt>
                <c:pt idx="246">
                  <c:v>44474</c:v>
                </c:pt>
                <c:pt idx="247">
                  <c:v>44475</c:v>
                </c:pt>
                <c:pt idx="248">
                  <c:v>44476</c:v>
                </c:pt>
                <c:pt idx="249">
                  <c:v>44477</c:v>
                </c:pt>
                <c:pt idx="250">
                  <c:v>44478</c:v>
                </c:pt>
                <c:pt idx="251">
                  <c:v>44479</c:v>
                </c:pt>
                <c:pt idx="252">
                  <c:v>44480</c:v>
                </c:pt>
                <c:pt idx="253">
                  <c:v>44481</c:v>
                </c:pt>
                <c:pt idx="254">
                  <c:v>44482</c:v>
                </c:pt>
                <c:pt idx="255">
                  <c:v>44483</c:v>
                </c:pt>
                <c:pt idx="256">
                  <c:v>44484</c:v>
                </c:pt>
                <c:pt idx="257">
                  <c:v>44485</c:v>
                </c:pt>
                <c:pt idx="258">
                  <c:v>44486</c:v>
                </c:pt>
                <c:pt idx="259">
                  <c:v>44487</c:v>
                </c:pt>
                <c:pt idx="260">
                  <c:v>44488</c:v>
                </c:pt>
                <c:pt idx="261">
                  <c:v>44489</c:v>
                </c:pt>
                <c:pt idx="262">
                  <c:v>44490</c:v>
                </c:pt>
                <c:pt idx="263">
                  <c:v>44491</c:v>
                </c:pt>
                <c:pt idx="264">
                  <c:v>44492</c:v>
                </c:pt>
                <c:pt idx="265">
                  <c:v>44493</c:v>
                </c:pt>
                <c:pt idx="266">
                  <c:v>44494</c:v>
                </c:pt>
                <c:pt idx="267">
                  <c:v>44495</c:v>
                </c:pt>
                <c:pt idx="268">
                  <c:v>44496</c:v>
                </c:pt>
                <c:pt idx="269">
                  <c:v>44497</c:v>
                </c:pt>
                <c:pt idx="270">
                  <c:v>44498</c:v>
                </c:pt>
                <c:pt idx="271">
                  <c:v>44499</c:v>
                </c:pt>
                <c:pt idx="272">
                  <c:v>44500</c:v>
                </c:pt>
                <c:pt idx="273">
                  <c:v>44501</c:v>
                </c:pt>
                <c:pt idx="274">
                  <c:v>44502</c:v>
                </c:pt>
                <c:pt idx="275">
                  <c:v>44503</c:v>
                </c:pt>
                <c:pt idx="276">
                  <c:v>44504</c:v>
                </c:pt>
                <c:pt idx="277">
                  <c:v>44505</c:v>
                </c:pt>
                <c:pt idx="278">
                  <c:v>44506</c:v>
                </c:pt>
                <c:pt idx="279">
                  <c:v>44507</c:v>
                </c:pt>
                <c:pt idx="280">
                  <c:v>44508</c:v>
                </c:pt>
                <c:pt idx="281">
                  <c:v>44509</c:v>
                </c:pt>
                <c:pt idx="282">
                  <c:v>44510</c:v>
                </c:pt>
                <c:pt idx="283">
                  <c:v>44511</c:v>
                </c:pt>
                <c:pt idx="284">
                  <c:v>44512</c:v>
                </c:pt>
                <c:pt idx="285">
                  <c:v>44513</c:v>
                </c:pt>
                <c:pt idx="286">
                  <c:v>44514</c:v>
                </c:pt>
                <c:pt idx="287">
                  <c:v>44515</c:v>
                </c:pt>
                <c:pt idx="288">
                  <c:v>44516</c:v>
                </c:pt>
                <c:pt idx="289">
                  <c:v>44517</c:v>
                </c:pt>
                <c:pt idx="290">
                  <c:v>44518</c:v>
                </c:pt>
                <c:pt idx="291">
                  <c:v>44519</c:v>
                </c:pt>
                <c:pt idx="292">
                  <c:v>44520</c:v>
                </c:pt>
                <c:pt idx="293">
                  <c:v>44521</c:v>
                </c:pt>
                <c:pt idx="294">
                  <c:v>44522</c:v>
                </c:pt>
                <c:pt idx="295">
                  <c:v>44523</c:v>
                </c:pt>
                <c:pt idx="296">
                  <c:v>44524</c:v>
                </c:pt>
                <c:pt idx="297">
                  <c:v>44525</c:v>
                </c:pt>
                <c:pt idx="298">
                  <c:v>44526</c:v>
                </c:pt>
                <c:pt idx="299">
                  <c:v>44527</c:v>
                </c:pt>
                <c:pt idx="300">
                  <c:v>44528</c:v>
                </c:pt>
                <c:pt idx="301">
                  <c:v>44529</c:v>
                </c:pt>
                <c:pt idx="302">
                  <c:v>44530</c:v>
                </c:pt>
                <c:pt idx="303">
                  <c:v>44531</c:v>
                </c:pt>
                <c:pt idx="304">
                  <c:v>44532</c:v>
                </c:pt>
                <c:pt idx="305">
                  <c:v>44533</c:v>
                </c:pt>
                <c:pt idx="306">
                  <c:v>44534</c:v>
                </c:pt>
                <c:pt idx="307">
                  <c:v>44535</c:v>
                </c:pt>
                <c:pt idx="308">
                  <c:v>44536</c:v>
                </c:pt>
                <c:pt idx="309">
                  <c:v>44537</c:v>
                </c:pt>
                <c:pt idx="310">
                  <c:v>44538</c:v>
                </c:pt>
                <c:pt idx="311">
                  <c:v>44539</c:v>
                </c:pt>
                <c:pt idx="312">
                  <c:v>44540</c:v>
                </c:pt>
                <c:pt idx="313">
                  <c:v>44541</c:v>
                </c:pt>
                <c:pt idx="314">
                  <c:v>44542</c:v>
                </c:pt>
                <c:pt idx="315">
                  <c:v>44543</c:v>
                </c:pt>
                <c:pt idx="316">
                  <c:v>44544</c:v>
                </c:pt>
                <c:pt idx="317">
                  <c:v>44545</c:v>
                </c:pt>
                <c:pt idx="318">
                  <c:v>44546</c:v>
                </c:pt>
                <c:pt idx="319">
                  <c:v>44547</c:v>
                </c:pt>
                <c:pt idx="320">
                  <c:v>44548</c:v>
                </c:pt>
                <c:pt idx="321">
                  <c:v>44549</c:v>
                </c:pt>
                <c:pt idx="322">
                  <c:v>44550</c:v>
                </c:pt>
                <c:pt idx="323">
                  <c:v>44551</c:v>
                </c:pt>
                <c:pt idx="324">
                  <c:v>44552</c:v>
                </c:pt>
              </c:numCache>
            </c:numRef>
          </c:cat>
          <c:val>
            <c:numRef>
              <c:f>List1!$B$2:$B$326</c:f>
              <c:numCache>
                <c:formatCode>General</c:formatCode>
                <c:ptCount val="325"/>
                <c:pt idx="0">
                  <c:v>111.236538318927</c:v>
                </c:pt>
                <c:pt idx="1">
                  <c:v>114.24535748410899</c:v>
                </c:pt>
                <c:pt idx="2">
                  <c:v>123.96867278133701</c:v>
                </c:pt>
                <c:pt idx="3">
                  <c:v>95.607126310911994</c:v>
                </c:pt>
                <c:pt idx="4">
                  <c:v>100.15001373365099</c:v>
                </c:pt>
                <c:pt idx="5">
                  <c:v>49.602754012734998</c:v>
                </c:pt>
                <c:pt idx="6">
                  <c:v>35.725525888246999</c:v>
                </c:pt>
                <c:pt idx="7">
                  <c:v>117.817031010818</c:v>
                </c:pt>
                <c:pt idx="8">
                  <c:v>125.272259832999</c:v>
                </c:pt>
                <c:pt idx="9">
                  <c:v>116.33121539479301</c:v>
                </c:pt>
                <c:pt idx="10">
                  <c:v>106.065207439069</c:v>
                </c:pt>
                <c:pt idx="11">
                  <c:v>106.956347859245</c:v>
                </c:pt>
                <c:pt idx="12">
                  <c:v>52.700553589000002</c:v>
                </c:pt>
                <c:pt idx="13">
                  <c:v>26.657562563428002</c:v>
                </c:pt>
                <c:pt idx="14">
                  <c:v>127.897452110307</c:v>
                </c:pt>
                <c:pt idx="15">
                  <c:v>132.77787101296099</c:v>
                </c:pt>
                <c:pt idx="16">
                  <c:v>128.516422671719</c:v>
                </c:pt>
                <c:pt idx="17">
                  <c:v>135.82610063717601</c:v>
                </c:pt>
                <c:pt idx="18">
                  <c:v>134.64314181692799</c:v>
                </c:pt>
                <c:pt idx="19">
                  <c:v>67.593508860157002</c:v>
                </c:pt>
                <c:pt idx="20">
                  <c:v>38.526444877339003</c:v>
                </c:pt>
                <c:pt idx="21">
                  <c:v>151.799069188125</c:v>
                </c:pt>
                <c:pt idx="22">
                  <c:v>185.086354707211</c:v>
                </c:pt>
                <c:pt idx="23">
                  <c:v>162.730631580166</c:v>
                </c:pt>
                <c:pt idx="24">
                  <c:v>175.82054504368901</c:v>
                </c:pt>
                <c:pt idx="25">
                  <c:v>184.902805960113</c:v>
                </c:pt>
                <c:pt idx="26">
                  <c:v>99.279173034573006</c:v>
                </c:pt>
                <c:pt idx="27">
                  <c:v>48.167526657715001</c:v>
                </c:pt>
                <c:pt idx="28">
                  <c:v>177.96956232896301</c:v>
                </c:pt>
                <c:pt idx="29">
                  <c:v>205.55870116442199</c:v>
                </c:pt>
                <c:pt idx="30">
                  <c:v>185.46431207626901</c:v>
                </c:pt>
                <c:pt idx="31">
                  <c:v>168.33963303211499</c:v>
                </c:pt>
                <c:pt idx="32">
                  <c:v>160.85080614639301</c:v>
                </c:pt>
                <c:pt idx="33">
                  <c:v>82.037560581582994</c:v>
                </c:pt>
                <c:pt idx="34">
                  <c:v>45.455693325589003</c:v>
                </c:pt>
                <c:pt idx="35">
                  <c:v>145.39036360288699</c:v>
                </c:pt>
                <c:pt idx="36">
                  <c:v>166.188342526957</c:v>
                </c:pt>
                <c:pt idx="37">
                  <c:v>165.777806335539</c:v>
                </c:pt>
                <c:pt idx="38">
                  <c:v>122.760429790725</c:v>
                </c:pt>
                <c:pt idx="39">
                  <c:v>158.02822397086501</c:v>
                </c:pt>
                <c:pt idx="40">
                  <c:v>74.795288547214994</c:v>
                </c:pt>
                <c:pt idx="41">
                  <c:v>39.678667837512002</c:v>
                </c:pt>
                <c:pt idx="42">
                  <c:v>138.38120104438599</c:v>
                </c:pt>
                <c:pt idx="43">
                  <c:v>153.99334224528801</c:v>
                </c:pt>
                <c:pt idx="44">
                  <c:v>123.73549563305799</c:v>
                </c:pt>
                <c:pt idx="45">
                  <c:v>112.983898142703</c:v>
                </c:pt>
                <c:pt idx="46">
                  <c:v>100.353563548395</c:v>
                </c:pt>
                <c:pt idx="47">
                  <c:v>38.546914253052996</c:v>
                </c:pt>
                <c:pt idx="48">
                  <c:v>29.245013392886001</c:v>
                </c:pt>
                <c:pt idx="49">
                  <c:v>119.609231961725</c:v>
                </c:pt>
                <c:pt idx="50">
                  <c:v>98.714694387364005</c:v>
                </c:pt>
                <c:pt idx="51">
                  <c:v>87.114484640162999</c:v>
                </c:pt>
                <c:pt idx="52">
                  <c:v>79.680732245498007</c:v>
                </c:pt>
                <c:pt idx="53">
                  <c:v>80.447757089028002</c:v>
                </c:pt>
                <c:pt idx="54">
                  <c:v>37.168580160236999</c:v>
                </c:pt>
                <c:pt idx="55">
                  <c:v>15.164047422111</c:v>
                </c:pt>
                <c:pt idx="56">
                  <c:v>88.369342100685003</c:v>
                </c:pt>
                <c:pt idx="57">
                  <c:v>96.239629653045</c:v>
                </c:pt>
                <c:pt idx="58">
                  <c:v>68.189566996248999</c:v>
                </c:pt>
                <c:pt idx="59">
                  <c:v>61.790931103110999</c:v>
                </c:pt>
                <c:pt idx="60">
                  <c:v>35.017070822024998</c:v>
                </c:pt>
                <c:pt idx="61">
                  <c:v>23.376775173864001</c:v>
                </c:pt>
                <c:pt idx="62">
                  <c:v>31.438953594642001</c:v>
                </c:pt>
                <c:pt idx="63">
                  <c:v>26.628006745760999</c:v>
                </c:pt>
                <c:pt idx="64">
                  <c:v>90.579032076953993</c:v>
                </c:pt>
                <c:pt idx="65">
                  <c:v>68.263527555709999</c:v>
                </c:pt>
                <c:pt idx="66">
                  <c:v>59.232136126218002</c:v>
                </c:pt>
                <c:pt idx="67">
                  <c:v>47.761474498504001</c:v>
                </c:pt>
                <c:pt idx="68">
                  <c:v>21.192759925274999</c:v>
                </c:pt>
                <c:pt idx="69">
                  <c:v>10.215548064152999</c:v>
                </c:pt>
                <c:pt idx="70">
                  <c:v>38.213822257959002</c:v>
                </c:pt>
                <c:pt idx="71">
                  <c:v>46.813834295169002</c:v>
                </c:pt>
                <c:pt idx="72">
                  <c:v>45.872311145333001</c:v>
                </c:pt>
                <c:pt idx="73">
                  <c:v>31.700480512546001</c:v>
                </c:pt>
                <c:pt idx="74">
                  <c:v>37.759914075216997</c:v>
                </c:pt>
                <c:pt idx="75">
                  <c:v>11.791558928315</c:v>
                </c:pt>
                <c:pt idx="76">
                  <c:v>9.2888930172849999</c:v>
                </c:pt>
                <c:pt idx="77">
                  <c:v>46.540752775521</c:v>
                </c:pt>
                <c:pt idx="78">
                  <c:v>42.217722827724998</c:v>
                </c:pt>
                <c:pt idx="79">
                  <c:v>41.906391597768</c:v>
                </c:pt>
                <c:pt idx="80">
                  <c:v>20.394229319808002</c:v>
                </c:pt>
                <c:pt idx="81">
                  <c:v>23.457870566688001</c:v>
                </c:pt>
                <c:pt idx="82">
                  <c:v>11.802516659706001</c:v>
                </c:pt>
                <c:pt idx="83">
                  <c:v>5.4633364595750002</c:v>
                </c:pt>
                <c:pt idx="84">
                  <c:v>22.071198006235001</c:v>
                </c:pt>
                <c:pt idx="85">
                  <c:v>25.116045432135</c:v>
                </c:pt>
                <c:pt idx="86">
                  <c:v>21.652153447869999</c:v>
                </c:pt>
                <c:pt idx="87">
                  <c:v>34.265155192598002</c:v>
                </c:pt>
                <c:pt idx="88">
                  <c:v>29.903440824949001</c:v>
                </c:pt>
                <c:pt idx="89">
                  <c:v>9.6662252423799995</c:v>
                </c:pt>
                <c:pt idx="90">
                  <c:v>6.7815000678150001</c:v>
                </c:pt>
                <c:pt idx="91">
                  <c:v>26.341206427254001</c:v>
                </c:pt>
                <c:pt idx="92">
                  <c:v>22.589104194697999</c:v>
                </c:pt>
                <c:pt idx="93">
                  <c:v>18.769324995801</c:v>
                </c:pt>
                <c:pt idx="94">
                  <c:v>17.897091722595</c:v>
                </c:pt>
                <c:pt idx="95">
                  <c:v>28.002240179213999</c:v>
                </c:pt>
                <c:pt idx="96">
                  <c:v>10.017229634972001</c:v>
                </c:pt>
                <c:pt idx="97">
                  <c:v>6.0201071579069998</c:v>
                </c:pt>
                <c:pt idx="98">
                  <c:v>17.11018962116</c:v>
                </c:pt>
                <c:pt idx="99">
                  <c:v>33.348828748711</c:v>
                </c:pt>
                <c:pt idx="100">
                  <c:v>9.1421605972870008</c:v>
                </c:pt>
                <c:pt idx="101">
                  <c:v>19.385381381870999</c:v>
                </c:pt>
                <c:pt idx="102">
                  <c:v>16.395962494235</c:v>
                </c:pt>
                <c:pt idx="103">
                  <c:v>6.1527733625929999</c:v>
                </c:pt>
                <c:pt idx="104">
                  <c:v>3.0786281632899999</c:v>
                </c:pt>
                <c:pt idx="105">
                  <c:v>10.286478424110999</c:v>
                </c:pt>
                <c:pt idx="106">
                  <c:v>9.2772984506909992</c:v>
                </c:pt>
                <c:pt idx="107">
                  <c:v>7.2349177803269997</c:v>
                </c:pt>
                <c:pt idx="108">
                  <c:v>11.404872991187</c:v>
                </c:pt>
                <c:pt idx="109">
                  <c:v>7.2863537004259999</c:v>
                </c:pt>
                <c:pt idx="110">
                  <c:v>4.1654517432410003</c:v>
                </c:pt>
                <c:pt idx="111">
                  <c:v>1.042535446205</c:v>
                </c:pt>
                <c:pt idx="112">
                  <c:v>6.2687409233849998</c:v>
                </c:pt>
                <c:pt idx="113">
                  <c:v>6.2818016207039999</c:v>
                </c:pt>
                <c:pt idx="114">
                  <c:v>13.658905606455001</c:v>
                </c:pt>
                <c:pt idx="115">
                  <c:v>3.1631889161859998</c:v>
                </c:pt>
                <c:pt idx="116">
                  <c:v>5.2909493021229999</c:v>
                </c:pt>
                <c:pt idx="117">
                  <c:v>1.0632642211579999</c:v>
                </c:pt>
                <c:pt idx="118">
                  <c:v>1.064158091326</c:v>
                </c:pt>
                <c:pt idx="119">
                  <c:v>4.2730933991380002</c:v>
                </c:pt>
                <c:pt idx="120">
                  <c:v>4.3060758730559998</c:v>
                </c:pt>
                <c:pt idx="121">
                  <c:v>1.083728894379</c:v>
                </c:pt>
                <c:pt idx="122">
                  <c:v>6.5669942867140003</c:v>
                </c:pt>
                <c:pt idx="123">
                  <c:v>3.3129403449870001</c:v>
                </c:pt>
                <c:pt idx="124">
                  <c:v>1.106451719979</c:v>
                </c:pt>
                <c:pt idx="125">
                  <c:v>1.1078245649009999</c:v>
                </c:pt>
                <c:pt idx="126">
                  <c:v>2.2315451218420002</c:v>
                </c:pt>
                <c:pt idx="127">
                  <c:v>1.12398700671</c:v>
                </c:pt>
                <c:pt idx="128">
                  <c:v>3.3954320121329999</c:v>
                </c:pt>
                <c:pt idx="129">
                  <c:v>4.5692353384660001</c:v>
                </c:pt>
                <c:pt idx="131">
                  <c:v>2.3165575954130002</c:v>
                </c:pt>
                <c:pt idx="132">
                  <c:v>1.161494146069</c:v>
                </c:pt>
                <c:pt idx="133">
                  <c:v>2.3375135867969998</c:v>
                </c:pt>
                <c:pt idx="135">
                  <c:v>1.184623585855</c:v>
                </c:pt>
                <c:pt idx="136">
                  <c:v>4.7754921741620002</c:v>
                </c:pt>
                <c:pt idx="137">
                  <c:v>4.8232868288089996</c:v>
                </c:pt>
                <c:pt idx="138">
                  <c:v>1.2081818071979999</c:v>
                </c:pt>
                <c:pt idx="139">
                  <c:v>1.2102142079139999</c:v>
                </c:pt>
                <c:pt idx="141">
                  <c:v>1.2243049008919999</c:v>
                </c:pt>
                <c:pt idx="142">
                  <c:v>4.9281718946349997</c:v>
                </c:pt>
                <c:pt idx="143">
                  <c:v>3.7217611373700001</c:v>
                </c:pt>
                <c:pt idx="145">
                  <c:v>1.255303657954</c:v>
                </c:pt>
                <c:pt idx="146">
                  <c:v>3.7718294630170002</c:v>
                </c:pt>
                <c:pt idx="147">
                  <c:v>0</c:v>
                </c:pt>
                <c:pt idx="148">
                  <c:v>3.8184456380620002</c:v>
                </c:pt>
                <c:pt idx="150">
                  <c:v>1.2908889061</c:v>
                </c:pt>
                <c:pt idx="151">
                  <c:v>2.6016598589900002</c:v>
                </c:pt>
                <c:pt idx="153">
                  <c:v>1.3067795724210001</c:v>
                </c:pt>
                <c:pt idx="154">
                  <c:v>2.6288463307869998</c:v>
                </c:pt>
                <c:pt idx="155">
                  <c:v>1.3231188557660001</c:v>
                </c:pt>
                <c:pt idx="156">
                  <c:v>0</c:v>
                </c:pt>
                <c:pt idx="157">
                  <c:v>1.3420476963750001</c:v>
                </c:pt>
                <c:pt idx="158">
                  <c:v>6.7640692640689997</c:v>
                </c:pt>
                <c:pt idx="159">
                  <c:v>1.3558402820140001</c:v>
                </c:pt>
                <c:pt idx="161">
                  <c:v>2.733024501564</c:v>
                </c:pt>
                <c:pt idx="162">
                  <c:v>4.128080580132</c:v>
                </c:pt>
                <c:pt idx="163">
                  <c:v>4.1589840988170002</c:v>
                </c:pt>
                <c:pt idx="164">
                  <c:v>5.5902617640069998</c:v>
                </c:pt>
                <c:pt idx="165">
                  <c:v>4.2246975820639996</c:v>
                </c:pt>
                <c:pt idx="166">
                  <c:v>4.2339392570839998</c:v>
                </c:pt>
                <c:pt idx="167">
                  <c:v>4.2396834369700001</c:v>
                </c:pt>
                <c:pt idx="168">
                  <c:v>8.4902856981130004</c:v>
                </c:pt>
                <c:pt idx="169">
                  <c:v>4.2517609376549999</c:v>
                </c:pt>
                <c:pt idx="170">
                  <c:v>7.1342959876709999</c:v>
                </c:pt>
                <c:pt idx="171">
                  <c:v>2.8709232889290002</c:v>
                </c:pt>
                <c:pt idx="172">
                  <c:v>4.3340075122790003</c:v>
                </c:pt>
                <c:pt idx="173">
                  <c:v>0</c:v>
                </c:pt>
                <c:pt idx="174">
                  <c:v>5.8016418646470003</c:v>
                </c:pt>
                <c:pt idx="175">
                  <c:v>5.8357527391559998</c:v>
                </c:pt>
                <c:pt idx="176">
                  <c:v>2.9340140245869999</c:v>
                </c:pt>
                <c:pt idx="177">
                  <c:v>0</c:v>
                </c:pt>
                <c:pt idx="178">
                  <c:v>10.40644605001</c:v>
                </c:pt>
                <c:pt idx="179">
                  <c:v>2.9937430769689999</c:v>
                </c:pt>
                <c:pt idx="180">
                  <c:v>1.4997450433420001</c:v>
                </c:pt>
                <c:pt idx="181">
                  <c:v>0</c:v>
                </c:pt>
                <c:pt idx="182">
                  <c:v>0</c:v>
                </c:pt>
                <c:pt idx="183">
                  <c:v>3.0496637745680002</c:v>
                </c:pt>
                <c:pt idx="184">
                  <c:v>10.750541366547001</c:v>
                </c:pt>
                <c:pt idx="185">
                  <c:v>0</c:v>
                </c:pt>
                <c:pt idx="186">
                  <c:v>7.7845243655610004</c:v>
                </c:pt>
                <c:pt idx="187">
                  <c:v>1.561743530477</c:v>
                </c:pt>
                <c:pt idx="188">
                  <c:v>1.565288169552</c:v>
                </c:pt>
                <c:pt idx="189">
                  <c:v>14.158066951925001</c:v>
                </c:pt>
                <c:pt idx="190">
                  <c:v>1.5826290634</c:v>
                </c:pt>
                <c:pt idx="191">
                  <c:v>4.777830864787</c:v>
                </c:pt>
                <c:pt idx="192">
                  <c:v>3.2020493115590001</c:v>
                </c:pt>
                <c:pt idx="193">
                  <c:v>9.6591915256689997</c:v>
                </c:pt>
                <c:pt idx="194">
                  <c:v>6.4535906164789996</c:v>
                </c:pt>
                <c:pt idx="195">
                  <c:v>1.6164228562189999</c:v>
                </c:pt>
                <c:pt idx="196">
                  <c:v>6.4947717087739996</c:v>
                </c:pt>
                <c:pt idx="197">
                  <c:v>4.8954015861100002</c:v>
                </c:pt>
                <c:pt idx="198">
                  <c:v>4.9218250127139997</c:v>
                </c:pt>
                <c:pt idx="199">
                  <c:v>0</c:v>
                </c:pt>
                <c:pt idx="200">
                  <c:v>4.9768576121030002</c:v>
                </c:pt>
                <c:pt idx="201">
                  <c:v>1.662786830728</c:v>
                </c:pt>
                <c:pt idx="202">
                  <c:v>1.665861500274</c:v>
                </c:pt>
                <c:pt idx="203">
                  <c:v>6.7065707627039997</c:v>
                </c:pt>
                <c:pt idx="204">
                  <c:v>3.3708622665669998</c:v>
                </c:pt>
                <c:pt idx="205">
                  <c:v>3.3918426185019999</c:v>
                </c:pt>
                <c:pt idx="206">
                  <c:v>6.8204682251430002</c:v>
                </c:pt>
                <c:pt idx="207">
                  <c:v>1.716031163125</c:v>
                </c:pt>
                <c:pt idx="208">
                  <c:v>3.4377256007420001</c:v>
                </c:pt>
                <c:pt idx="209">
                  <c:v>3.4425185465679999</c:v>
                </c:pt>
                <c:pt idx="210">
                  <c:v>0</c:v>
                </c:pt>
                <c:pt idx="211">
                  <c:v>1.7389187403269999</c:v>
                </c:pt>
                <c:pt idx="212">
                  <c:v>3.4964423698879998</c:v>
                </c:pt>
                <c:pt idx="213">
                  <c:v>14.059012705832</c:v>
                </c:pt>
                <c:pt idx="214">
                  <c:v>8.8464260438779991</c:v>
                </c:pt>
                <c:pt idx="215">
                  <c:v>10.62812201084</c:v>
                </c:pt>
                <c:pt idx="216">
                  <c:v>1.7729553392549999</c:v>
                </c:pt>
                <c:pt idx="217">
                  <c:v>7.1275837491090002</c:v>
                </c:pt>
                <c:pt idx="218">
                  <c:v>8.9503078905910005</c:v>
                </c:pt>
                <c:pt idx="219">
                  <c:v>1.797591227754</c:v>
                </c:pt>
                <c:pt idx="220">
                  <c:v>5.413989749512</c:v>
                </c:pt>
                <c:pt idx="221">
                  <c:v>1.8123821951570001</c:v>
                </c:pt>
                <c:pt idx="222">
                  <c:v>1.813664145673</c:v>
                </c:pt>
                <c:pt idx="223">
                  <c:v>3.6296981905950001</c:v>
                </c:pt>
                <c:pt idx="224">
                  <c:v>3.6386791594650001</c:v>
                </c:pt>
                <c:pt idx="225">
                  <c:v>7.297405772247</c:v>
                </c:pt>
                <c:pt idx="226">
                  <c:v>5.4838591744959997</c:v>
                </c:pt>
                <c:pt idx="227">
                  <c:v>10.992232155943</c:v>
                </c:pt>
                <c:pt idx="228">
                  <c:v>16.526497484299</c:v>
                </c:pt>
                <c:pt idx="229">
                  <c:v>3.6732295033789999</c:v>
                </c:pt>
                <c:pt idx="230">
                  <c:v>9.182230547444</c:v>
                </c:pt>
                <c:pt idx="231">
                  <c:v>18.401634065103998</c:v>
                </c:pt>
                <c:pt idx="232">
                  <c:v>16.586192915851999</c:v>
                </c:pt>
                <c:pt idx="233">
                  <c:v>16.611295681063002</c:v>
                </c:pt>
                <c:pt idx="234">
                  <c:v>11.090983030795</c:v>
                </c:pt>
                <c:pt idx="235">
                  <c:v>16.671297582661001</c:v>
                </c:pt>
                <c:pt idx="236">
                  <c:v>11.113992516578</c:v>
                </c:pt>
                <c:pt idx="237">
                  <c:v>11.113169105389</c:v>
                </c:pt>
                <c:pt idx="238">
                  <c:v>11.126152020323</c:v>
                </c:pt>
                <c:pt idx="239">
                  <c:v>16.715264751221</c:v>
                </c:pt>
                <c:pt idx="240">
                  <c:v>26.036823507531999</c:v>
                </c:pt>
                <c:pt idx="241">
                  <c:v>35.390977163506001</c:v>
                </c:pt>
                <c:pt idx="242">
                  <c:v>31.732994848053998</c:v>
                </c:pt>
                <c:pt idx="243">
                  <c:v>13.071651323037001</c:v>
                </c:pt>
                <c:pt idx="244">
                  <c:v>11.208039900622</c:v>
                </c:pt>
                <c:pt idx="245">
                  <c:v>18.716427408335999</c:v>
                </c:pt>
                <c:pt idx="246">
                  <c:v>29.992314469417</c:v>
                </c:pt>
                <c:pt idx="247">
                  <c:v>24.401231323672</c:v>
                </c:pt>
                <c:pt idx="248">
                  <c:v>18.806183473124999</c:v>
                </c:pt>
                <c:pt idx="249">
                  <c:v>16.966406515100001</c:v>
                </c:pt>
                <c:pt idx="250">
                  <c:v>13.2020670665</c:v>
                </c:pt>
                <c:pt idx="251">
                  <c:v>9.4334282965109999</c:v>
                </c:pt>
                <c:pt idx="252">
                  <c:v>34.013605442176001</c:v>
                </c:pt>
                <c:pt idx="253">
                  <c:v>51.028122165104001</c:v>
                </c:pt>
                <c:pt idx="254">
                  <c:v>28.408014847922001</c:v>
                </c:pt>
                <c:pt idx="255">
                  <c:v>45.520930144338998</c:v>
                </c:pt>
                <c:pt idx="256">
                  <c:v>22.797218739312999</c:v>
                </c:pt>
                <c:pt idx="257">
                  <c:v>17.103762827821999</c:v>
                </c:pt>
                <c:pt idx="258">
                  <c:v>28.512773722626999</c:v>
                </c:pt>
                <c:pt idx="259">
                  <c:v>97.081834275597998</c:v>
                </c:pt>
                <c:pt idx="260">
                  <c:v>81.975026212944002</c:v>
                </c:pt>
                <c:pt idx="261">
                  <c:v>80.171031533939001</c:v>
                </c:pt>
                <c:pt idx="262">
                  <c:v>108.94911885010799</c:v>
                </c:pt>
                <c:pt idx="263">
                  <c:v>97.665600643443</c:v>
                </c:pt>
                <c:pt idx="264">
                  <c:v>61.301507633953001</c:v>
                </c:pt>
                <c:pt idx="265">
                  <c:v>36.404046597178997</c:v>
                </c:pt>
                <c:pt idx="266">
                  <c:v>120.891140406424</c:v>
                </c:pt>
                <c:pt idx="267">
                  <c:v>144.094987415704</c:v>
                </c:pt>
                <c:pt idx="268">
                  <c:v>151.94645330050699</c:v>
                </c:pt>
                <c:pt idx="269">
                  <c:v>84.753924684579999</c:v>
                </c:pt>
                <c:pt idx="270">
                  <c:v>169.867773380947</c:v>
                </c:pt>
                <c:pt idx="271">
                  <c:v>129.38609196068199</c:v>
                </c:pt>
                <c:pt idx="272">
                  <c:v>67.604110329907996</c:v>
                </c:pt>
                <c:pt idx="273">
                  <c:v>228.20011990175701</c:v>
                </c:pt>
                <c:pt idx="274">
                  <c:v>238.03994426381701</c:v>
                </c:pt>
                <c:pt idx="275">
                  <c:v>234.49612403100701</c:v>
                </c:pt>
                <c:pt idx="276">
                  <c:v>190.287567231704</c:v>
                </c:pt>
                <c:pt idx="277">
                  <c:v>204.411392528276</c:v>
                </c:pt>
                <c:pt idx="278">
                  <c:v>107.14772749410599</c:v>
                </c:pt>
                <c:pt idx="279">
                  <c:v>50.682261208576001</c:v>
                </c:pt>
                <c:pt idx="280">
                  <c:v>234.34296092331101</c:v>
                </c:pt>
                <c:pt idx="281">
                  <c:v>240.86004660543901</c:v>
                </c:pt>
                <c:pt idx="282">
                  <c:v>280.89335873814002</c:v>
                </c:pt>
                <c:pt idx="283">
                  <c:v>216.24171892508201</c:v>
                </c:pt>
                <c:pt idx="284">
                  <c:v>313.411653394307</c:v>
                </c:pt>
                <c:pt idx="285">
                  <c:v>177.588350204226</c:v>
                </c:pt>
                <c:pt idx="286">
                  <c:v>86.887835703001002</c:v>
                </c:pt>
                <c:pt idx="287">
                  <c:v>324.81679540503001</c:v>
                </c:pt>
                <c:pt idx="288">
                  <c:v>407.11760734003201</c:v>
                </c:pt>
                <c:pt idx="289">
                  <c:v>258.87647609375301</c:v>
                </c:pt>
                <c:pt idx="290">
                  <c:v>321.67832167832103</c:v>
                </c:pt>
                <c:pt idx="291">
                  <c:v>581.93201428743396</c:v>
                </c:pt>
                <c:pt idx="292">
                  <c:v>305.38031904207003</c:v>
                </c:pt>
                <c:pt idx="293">
                  <c:v>158.845055696304</c:v>
                </c:pt>
                <c:pt idx="294">
                  <c:v>377.183428133446</c:v>
                </c:pt>
                <c:pt idx="295">
                  <c:v>466.99686647124201</c:v>
                </c:pt>
                <c:pt idx="296">
                  <c:v>316.263228317722</c:v>
                </c:pt>
                <c:pt idx="297">
                  <c:v>486.15772665324101</c:v>
                </c:pt>
                <c:pt idx="298">
                  <c:v>329.05493786788702</c:v>
                </c:pt>
                <c:pt idx="299">
                  <c:v>192.36672464954401</c:v>
                </c:pt>
                <c:pt idx="300">
                  <c:v>135.19603424966201</c:v>
                </c:pt>
                <c:pt idx="301">
                  <c:v>401.15202633203</c:v>
                </c:pt>
                <c:pt idx="302">
                  <c:v>382.44475223781802</c:v>
                </c:pt>
                <c:pt idx="303">
                  <c:v>347.76128671676003</c:v>
                </c:pt>
                <c:pt idx="304">
                  <c:v>270.33209257834397</c:v>
                </c:pt>
                <c:pt idx="305">
                  <c:v>280.452071996651</c:v>
                </c:pt>
                <c:pt idx="306">
                  <c:v>180.270825472686</c:v>
                </c:pt>
                <c:pt idx="307">
                  <c:v>100.73452256033499</c:v>
                </c:pt>
                <c:pt idx="308">
                  <c:v>333.33333333333297</c:v>
                </c:pt>
                <c:pt idx="309">
                  <c:v>320.16623200390097</c:v>
                </c:pt>
                <c:pt idx="310">
                  <c:v>260.15566691544899</c:v>
                </c:pt>
                <c:pt idx="311">
                  <c:v>236.051502145922</c:v>
                </c:pt>
                <c:pt idx="312">
                  <c:v>216.17414989515501</c:v>
                </c:pt>
                <c:pt idx="313">
                  <c:v>145.075027607561</c:v>
                </c:pt>
                <c:pt idx="314">
                  <c:v>99.711703119242003</c:v>
                </c:pt>
                <c:pt idx="315">
                  <c:v>228.56396525827699</c:v>
                </c:pt>
                <c:pt idx="316">
                  <c:v>308.264101442938</c:v>
                </c:pt>
                <c:pt idx="317">
                  <c:v>195.471217412312</c:v>
                </c:pt>
                <c:pt idx="318">
                  <c:v>174.34290380243999</c:v>
                </c:pt>
                <c:pt idx="319">
                  <c:v>190.92019092019001</c:v>
                </c:pt>
                <c:pt idx="320">
                  <c:v>124.52746275294599</c:v>
                </c:pt>
                <c:pt idx="321">
                  <c:v>75.688430800738999</c:v>
                </c:pt>
                <c:pt idx="322">
                  <c:v>203.54299006889099</c:v>
                </c:pt>
                <c:pt idx="323">
                  <c:v>177.59992806078799</c:v>
                </c:pt>
                <c:pt idx="324">
                  <c:v>99.172808619017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200-4031-9260-04D76AD8008B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Ukončené očkování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trendline>
            <c:spPr>
              <a:ln w="28575" cap="rnd">
                <a:solidFill>
                  <a:schemeClr val="accent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A$2:$A$326</c:f>
              <c:numCache>
                <c:formatCode>m/d/yyyy</c:formatCode>
                <c:ptCount val="325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  <c:pt idx="168">
                  <c:v>44396</c:v>
                </c:pt>
                <c:pt idx="169">
                  <c:v>44397</c:v>
                </c:pt>
                <c:pt idx="170">
                  <c:v>44398</c:v>
                </c:pt>
                <c:pt idx="171">
                  <c:v>44399</c:v>
                </c:pt>
                <c:pt idx="172">
                  <c:v>44400</c:v>
                </c:pt>
                <c:pt idx="173">
                  <c:v>44401</c:v>
                </c:pt>
                <c:pt idx="174">
                  <c:v>44402</c:v>
                </c:pt>
                <c:pt idx="175">
                  <c:v>44403</c:v>
                </c:pt>
                <c:pt idx="176">
                  <c:v>44404</c:v>
                </c:pt>
                <c:pt idx="177">
                  <c:v>44405</c:v>
                </c:pt>
                <c:pt idx="178">
                  <c:v>44406</c:v>
                </c:pt>
                <c:pt idx="179">
                  <c:v>44407</c:v>
                </c:pt>
                <c:pt idx="180">
                  <c:v>44408</c:v>
                </c:pt>
                <c:pt idx="181">
                  <c:v>44409</c:v>
                </c:pt>
                <c:pt idx="182">
                  <c:v>44410</c:v>
                </c:pt>
                <c:pt idx="183">
                  <c:v>44411</c:v>
                </c:pt>
                <c:pt idx="184">
                  <c:v>44412</c:v>
                </c:pt>
                <c:pt idx="185">
                  <c:v>44413</c:v>
                </c:pt>
                <c:pt idx="186">
                  <c:v>44414</c:v>
                </c:pt>
                <c:pt idx="187">
                  <c:v>44415</c:v>
                </c:pt>
                <c:pt idx="188">
                  <c:v>44416</c:v>
                </c:pt>
                <c:pt idx="189">
                  <c:v>44417</c:v>
                </c:pt>
                <c:pt idx="190">
                  <c:v>44418</c:v>
                </c:pt>
                <c:pt idx="191">
                  <c:v>44419</c:v>
                </c:pt>
                <c:pt idx="192">
                  <c:v>44420</c:v>
                </c:pt>
                <c:pt idx="193">
                  <c:v>44421</c:v>
                </c:pt>
                <c:pt idx="194">
                  <c:v>44422</c:v>
                </c:pt>
                <c:pt idx="195">
                  <c:v>44423</c:v>
                </c:pt>
                <c:pt idx="196">
                  <c:v>44424</c:v>
                </c:pt>
                <c:pt idx="197">
                  <c:v>44425</c:v>
                </c:pt>
                <c:pt idx="198">
                  <c:v>44426</c:v>
                </c:pt>
                <c:pt idx="199">
                  <c:v>44427</c:v>
                </c:pt>
                <c:pt idx="200">
                  <c:v>44428</c:v>
                </c:pt>
                <c:pt idx="201">
                  <c:v>44429</c:v>
                </c:pt>
                <c:pt idx="202">
                  <c:v>44430</c:v>
                </c:pt>
                <c:pt idx="203">
                  <c:v>44431</c:v>
                </c:pt>
                <c:pt idx="204">
                  <c:v>44432</c:v>
                </c:pt>
                <c:pt idx="205">
                  <c:v>44433</c:v>
                </c:pt>
                <c:pt idx="206">
                  <c:v>44434</c:v>
                </c:pt>
                <c:pt idx="207">
                  <c:v>44435</c:v>
                </c:pt>
                <c:pt idx="208">
                  <c:v>44436</c:v>
                </c:pt>
                <c:pt idx="209">
                  <c:v>44437</c:v>
                </c:pt>
                <c:pt idx="210">
                  <c:v>44438</c:v>
                </c:pt>
                <c:pt idx="211">
                  <c:v>44439</c:v>
                </c:pt>
                <c:pt idx="212">
                  <c:v>44440</c:v>
                </c:pt>
                <c:pt idx="213">
                  <c:v>44441</c:v>
                </c:pt>
                <c:pt idx="214">
                  <c:v>44442</c:v>
                </c:pt>
                <c:pt idx="215">
                  <c:v>44443</c:v>
                </c:pt>
                <c:pt idx="216">
                  <c:v>44444</c:v>
                </c:pt>
                <c:pt idx="217">
                  <c:v>44445</c:v>
                </c:pt>
                <c:pt idx="218">
                  <c:v>44446</c:v>
                </c:pt>
                <c:pt idx="219">
                  <c:v>44447</c:v>
                </c:pt>
                <c:pt idx="220">
                  <c:v>44448</c:v>
                </c:pt>
                <c:pt idx="221">
                  <c:v>44449</c:v>
                </c:pt>
                <c:pt idx="222">
                  <c:v>44450</c:v>
                </c:pt>
                <c:pt idx="223">
                  <c:v>44451</c:v>
                </c:pt>
                <c:pt idx="224">
                  <c:v>44452</c:v>
                </c:pt>
                <c:pt idx="225">
                  <c:v>44453</c:v>
                </c:pt>
                <c:pt idx="226">
                  <c:v>44454</c:v>
                </c:pt>
                <c:pt idx="227">
                  <c:v>44455</c:v>
                </c:pt>
                <c:pt idx="228">
                  <c:v>44456</c:v>
                </c:pt>
                <c:pt idx="229">
                  <c:v>44457</c:v>
                </c:pt>
                <c:pt idx="230">
                  <c:v>44458</c:v>
                </c:pt>
                <c:pt idx="231">
                  <c:v>44459</c:v>
                </c:pt>
                <c:pt idx="232">
                  <c:v>44460</c:v>
                </c:pt>
                <c:pt idx="233">
                  <c:v>44461</c:v>
                </c:pt>
                <c:pt idx="234">
                  <c:v>44462</c:v>
                </c:pt>
                <c:pt idx="235">
                  <c:v>44463</c:v>
                </c:pt>
                <c:pt idx="236">
                  <c:v>44464</c:v>
                </c:pt>
                <c:pt idx="237">
                  <c:v>44465</c:v>
                </c:pt>
                <c:pt idx="238">
                  <c:v>44466</c:v>
                </c:pt>
                <c:pt idx="239">
                  <c:v>44467</c:v>
                </c:pt>
                <c:pt idx="240">
                  <c:v>44468</c:v>
                </c:pt>
                <c:pt idx="241">
                  <c:v>44469</c:v>
                </c:pt>
                <c:pt idx="242">
                  <c:v>44470</c:v>
                </c:pt>
                <c:pt idx="243">
                  <c:v>44471</c:v>
                </c:pt>
                <c:pt idx="244">
                  <c:v>44472</c:v>
                </c:pt>
                <c:pt idx="245">
                  <c:v>44473</c:v>
                </c:pt>
                <c:pt idx="246">
                  <c:v>44474</c:v>
                </c:pt>
                <c:pt idx="247">
                  <c:v>44475</c:v>
                </c:pt>
                <c:pt idx="248">
                  <c:v>44476</c:v>
                </c:pt>
                <c:pt idx="249">
                  <c:v>44477</c:v>
                </c:pt>
                <c:pt idx="250">
                  <c:v>44478</c:v>
                </c:pt>
                <c:pt idx="251">
                  <c:v>44479</c:v>
                </c:pt>
                <c:pt idx="252">
                  <c:v>44480</c:v>
                </c:pt>
                <c:pt idx="253">
                  <c:v>44481</c:v>
                </c:pt>
                <c:pt idx="254">
                  <c:v>44482</c:v>
                </c:pt>
                <c:pt idx="255">
                  <c:v>44483</c:v>
                </c:pt>
                <c:pt idx="256">
                  <c:v>44484</c:v>
                </c:pt>
                <c:pt idx="257">
                  <c:v>44485</c:v>
                </c:pt>
                <c:pt idx="258">
                  <c:v>44486</c:v>
                </c:pt>
                <c:pt idx="259">
                  <c:v>44487</c:v>
                </c:pt>
                <c:pt idx="260">
                  <c:v>44488</c:v>
                </c:pt>
                <c:pt idx="261">
                  <c:v>44489</c:v>
                </c:pt>
                <c:pt idx="262">
                  <c:v>44490</c:v>
                </c:pt>
                <c:pt idx="263">
                  <c:v>44491</c:v>
                </c:pt>
                <c:pt idx="264">
                  <c:v>44492</c:v>
                </c:pt>
                <c:pt idx="265">
                  <c:v>44493</c:v>
                </c:pt>
                <c:pt idx="266">
                  <c:v>44494</c:v>
                </c:pt>
                <c:pt idx="267">
                  <c:v>44495</c:v>
                </c:pt>
                <c:pt idx="268">
                  <c:v>44496</c:v>
                </c:pt>
                <c:pt idx="269">
                  <c:v>44497</c:v>
                </c:pt>
                <c:pt idx="270">
                  <c:v>44498</c:v>
                </c:pt>
                <c:pt idx="271">
                  <c:v>44499</c:v>
                </c:pt>
                <c:pt idx="272">
                  <c:v>44500</c:v>
                </c:pt>
                <c:pt idx="273">
                  <c:v>44501</c:v>
                </c:pt>
                <c:pt idx="274">
                  <c:v>44502</c:v>
                </c:pt>
                <c:pt idx="275">
                  <c:v>44503</c:v>
                </c:pt>
                <c:pt idx="276">
                  <c:v>44504</c:v>
                </c:pt>
                <c:pt idx="277">
                  <c:v>44505</c:v>
                </c:pt>
                <c:pt idx="278">
                  <c:v>44506</c:v>
                </c:pt>
                <c:pt idx="279">
                  <c:v>44507</c:v>
                </c:pt>
                <c:pt idx="280">
                  <c:v>44508</c:v>
                </c:pt>
                <c:pt idx="281">
                  <c:v>44509</c:v>
                </c:pt>
                <c:pt idx="282">
                  <c:v>44510</c:v>
                </c:pt>
                <c:pt idx="283">
                  <c:v>44511</c:v>
                </c:pt>
                <c:pt idx="284">
                  <c:v>44512</c:v>
                </c:pt>
                <c:pt idx="285">
                  <c:v>44513</c:v>
                </c:pt>
                <c:pt idx="286">
                  <c:v>44514</c:v>
                </c:pt>
                <c:pt idx="287">
                  <c:v>44515</c:v>
                </c:pt>
                <c:pt idx="288">
                  <c:v>44516</c:v>
                </c:pt>
                <c:pt idx="289">
                  <c:v>44517</c:v>
                </c:pt>
                <c:pt idx="290">
                  <c:v>44518</c:v>
                </c:pt>
                <c:pt idx="291">
                  <c:v>44519</c:v>
                </c:pt>
                <c:pt idx="292">
                  <c:v>44520</c:v>
                </c:pt>
                <c:pt idx="293">
                  <c:v>44521</c:v>
                </c:pt>
                <c:pt idx="294">
                  <c:v>44522</c:v>
                </c:pt>
                <c:pt idx="295">
                  <c:v>44523</c:v>
                </c:pt>
                <c:pt idx="296">
                  <c:v>44524</c:v>
                </c:pt>
                <c:pt idx="297">
                  <c:v>44525</c:v>
                </c:pt>
                <c:pt idx="298">
                  <c:v>44526</c:v>
                </c:pt>
                <c:pt idx="299">
                  <c:v>44527</c:v>
                </c:pt>
                <c:pt idx="300">
                  <c:v>44528</c:v>
                </c:pt>
                <c:pt idx="301">
                  <c:v>44529</c:v>
                </c:pt>
                <c:pt idx="302">
                  <c:v>44530</c:v>
                </c:pt>
                <c:pt idx="303">
                  <c:v>44531</c:v>
                </c:pt>
                <c:pt idx="304">
                  <c:v>44532</c:v>
                </c:pt>
                <c:pt idx="305">
                  <c:v>44533</c:v>
                </c:pt>
                <c:pt idx="306">
                  <c:v>44534</c:v>
                </c:pt>
                <c:pt idx="307">
                  <c:v>44535</c:v>
                </c:pt>
                <c:pt idx="308">
                  <c:v>44536</c:v>
                </c:pt>
                <c:pt idx="309">
                  <c:v>44537</c:v>
                </c:pt>
                <c:pt idx="310">
                  <c:v>44538</c:v>
                </c:pt>
                <c:pt idx="311">
                  <c:v>44539</c:v>
                </c:pt>
                <c:pt idx="312">
                  <c:v>44540</c:v>
                </c:pt>
                <c:pt idx="313">
                  <c:v>44541</c:v>
                </c:pt>
                <c:pt idx="314">
                  <c:v>44542</c:v>
                </c:pt>
                <c:pt idx="315">
                  <c:v>44543</c:v>
                </c:pt>
                <c:pt idx="316">
                  <c:v>44544</c:v>
                </c:pt>
                <c:pt idx="317">
                  <c:v>44545</c:v>
                </c:pt>
                <c:pt idx="318">
                  <c:v>44546</c:v>
                </c:pt>
                <c:pt idx="319">
                  <c:v>44547</c:v>
                </c:pt>
                <c:pt idx="320">
                  <c:v>44548</c:v>
                </c:pt>
                <c:pt idx="321">
                  <c:v>44549</c:v>
                </c:pt>
                <c:pt idx="322">
                  <c:v>44550</c:v>
                </c:pt>
                <c:pt idx="323">
                  <c:v>44551</c:v>
                </c:pt>
                <c:pt idx="324">
                  <c:v>44552</c:v>
                </c:pt>
              </c:numCache>
            </c:numRef>
          </c:cat>
          <c:val>
            <c:numRef>
              <c:f>List1!$C$2:$C$326</c:f>
              <c:numCache>
                <c:formatCode>General</c:formatCode>
                <c:ptCount val="32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12.861736334405</c:v>
                </c:pt>
                <c:pt idx="9">
                  <c:v>10.297070483446999</c:v>
                </c:pt>
                <c:pt idx="10">
                  <c:v>12.492192379762001</c:v>
                </c:pt>
                <c:pt idx="11">
                  <c:v>20.281233098971999</c:v>
                </c:pt>
                <c:pt idx="12">
                  <c:v>3.3114775812959998</c:v>
                </c:pt>
                <c:pt idx="13">
                  <c:v>0</c:v>
                </c:pt>
                <c:pt idx="14">
                  <c:v>8.3707692736960002</c:v>
                </c:pt>
                <c:pt idx="15">
                  <c:v>14.286394590218</c:v>
                </c:pt>
                <c:pt idx="16">
                  <c:v>4.191027011169</c:v>
                </c:pt>
                <c:pt idx="17">
                  <c:v>18.556318426423999</c:v>
                </c:pt>
                <c:pt idx="18">
                  <c:v>11.886366337809999</c:v>
                </c:pt>
                <c:pt idx="19">
                  <c:v>6.7081453655100001</c:v>
                </c:pt>
                <c:pt idx="20">
                  <c:v>1.659448067572</c:v>
                </c:pt>
                <c:pt idx="21">
                  <c:v>13.910785495687</c:v>
                </c:pt>
                <c:pt idx="22">
                  <c:v>20.468135499056999</c:v>
                </c:pt>
                <c:pt idx="23">
                  <c:v>19.486123096623</c:v>
                </c:pt>
                <c:pt idx="24">
                  <c:v>14.661779406863999</c:v>
                </c:pt>
                <c:pt idx="25">
                  <c:v>26.945877280775999</c:v>
                </c:pt>
                <c:pt idx="26">
                  <c:v>11.494106077827</c:v>
                </c:pt>
                <c:pt idx="27">
                  <c:v>14.029896433855001</c:v>
                </c:pt>
                <c:pt idx="28">
                  <c:v>24.865106795633</c:v>
                </c:pt>
                <c:pt idx="29">
                  <c:v>15.84631512226</c:v>
                </c:pt>
                <c:pt idx="30">
                  <c:v>22.803374899485</c:v>
                </c:pt>
                <c:pt idx="31">
                  <c:v>12.976901116013</c:v>
                </c:pt>
                <c:pt idx="32">
                  <c:v>18.592760443902002</c:v>
                </c:pt>
                <c:pt idx="33">
                  <c:v>10.447258755383</c:v>
                </c:pt>
                <c:pt idx="34">
                  <c:v>4.6382727072429999</c:v>
                </c:pt>
                <c:pt idx="35">
                  <c:v>16.063888378923998</c:v>
                </c:pt>
                <c:pt idx="36">
                  <c:v>19.266730889102</c:v>
                </c:pt>
                <c:pt idx="37">
                  <c:v>6.7356698623669997</c:v>
                </c:pt>
                <c:pt idx="38">
                  <c:v>16.674262719683</c:v>
                </c:pt>
                <c:pt idx="39">
                  <c:v>17.585122985952999</c:v>
                </c:pt>
                <c:pt idx="40">
                  <c:v>7.690026036231</c:v>
                </c:pt>
                <c:pt idx="41">
                  <c:v>8.7844515208080001</c:v>
                </c:pt>
                <c:pt idx="42">
                  <c:v>21.827150792870999</c:v>
                </c:pt>
                <c:pt idx="43">
                  <c:v>11.924248501338001</c:v>
                </c:pt>
                <c:pt idx="44">
                  <c:v>8.6077038949860007</c:v>
                </c:pt>
                <c:pt idx="45">
                  <c:v>13.895866514168</c:v>
                </c:pt>
                <c:pt idx="46">
                  <c:v>16.938745262444002</c:v>
                </c:pt>
                <c:pt idx="47">
                  <c:v>3.1751407645729999</c:v>
                </c:pt>
                <c:pt idx="48">
                  <c:v>4.2318638186220001</c:v>
                </c:pt>
                <c:pt idx="49">
                  <c:v>14.683671757006</c:v>
                </c:pt>
                <c:pt idx="50">
                  <c:v>14.566793952698999</c:v>
                </c:pt>
                <c:pt idx="51">
                  <c:v>16.500629086482999</c:v>
                </c:pt>
                <c:pt idx="52">
                  <c:v>10.179671196619999</c:v>
                </c:pt>
                <c:pt idx="53">
                  <c:v>8.0273733430990006</c:v>
                </c:pt>
                <c:pt idx="54">
                  <c:v>8.0131415521449991</c:v>
                </c:pt>
                <c:pt idx="55">
                  <c:v>3.9974416373519999</c:v>
                </c:pt>
                <c:pt idx="56">
                  <c:v>9.8567809724700002</c:v>
                </c:pt>
                <c:pt idx="57">
                  <c:v>5.8343624500429998</c:v>
                </c:pt>
                <c:pt idx="58">
                  <c:v>11.490620780786999</c:v>
                </c:pt>
                <c:pt idx="59">
                  <c:v>4.7132905366550002</c:v>
                </c:pt>
                <c:pt idx="60">
                  <c:v>2.7718234902800001</c:v>
                </c:pt>
                <c:pt idx="61">
                  <c:v>8.297531023546</c:v>
                </c:pt>
                <c:pt idx="62">
                  <c:v>0.92058991401599999</c:v>
                </c:pt>
                <c:pt idx="63">
                  <c:v>1.8140754111140001</c:v>
                </c:pt>
                <c:pt idx="64">
                  <c:v>8.0424642110339999</c:v>
                </c:pt>
                <c:pt idx="65">
                  <c:v>6.156877231867</c:v>
                </c:pt>
                <c:pt idx="66">
                  <c:v>8.6516416490020003</c:v>
                </c:pt>
                <c:pt idx="67">
                  <c:v>4.240522432363</c:v>
                </c:pt>
                <c:pt idx="68">
                  <c:v>4.2275432900430001</c:v>
                </c:pt>
                <c:pt idx="69">
                  <c:v>1.6883051104989999</c:v>
                </c:pt>
                <c:pt idx="70">
                  <c:v>7.4902626585430001</c:v>
                </c:pt>
                <c:pt idx="71">
                  <c:v>4.1011844220610003</c:v>
                </c:pt>
                <c:pt idx="72">
                  <c:v>4.0394900547750003</c:v>
                </c:pt>
                <c:pt idx="73">
                  <c:v>4.760771244941</c:v>
                </c:pt>
                <c:pt idx="74">
                  <c:v>3.944026377648</c:v>
                </c:pt>
                <c:pt idx="75">
                  <c:v>4.7145719561539998</c:v>
                </c:pt>
                <c:pt idx="76">
                  <c:v>3.1343540879809999</c:v>
                </c:pt>
                <c:pt idx="77">
                  <c:v>5.472640705501</c:v>
                </c:pt>
                <c:pt idx="78">
                  <c:v>5.3818830439929997</c:v>
                </c:pt>
                <c:pt idx="79">
                  <c:v>9.1161165343559993</c:v>
                </c:pt>
                <c:pt idx="80">
                  <c:v>2.9974896024570001</c:v>
                </c:pt>
                <c:pt idx="81">
                  <c:v>3.691916917101</c:v>
                </c:pt>
                <c:pt idx="82">
                  <c:v>0.73438693378700004</c:v>
                </c:pt>
                <c:pt idx="83">
                  <c:v>0.73240757016400004</c:v>
                </c:pt>
                <c:pt idx="84">
                  <c:v>5.0847703862970004</c:v>
                </c:pt>
                <c:pt idx="85">
                  <c:v>5.0377833753139996</c:v>
                </c:pt>
                <c:pt idx="86">
                  <c:v>2.138717197424</c:v>
                </c:pt>
                <c:pt idx="87">
                  <c:v>7.0681867980400002</c:v>
                </c:pt>
                <c:pt idx="88">
                  <c:v>4.1981234388219999</c:v>
                </c:pt>
                <c:pt idx="89">
                  <c:v>1.39696997213</c:v>
                </c:pt>
                <c:pt idx="90">
                  <c:v>2.7896920877350002</c:v>
                </c:pt>
                <c:pt idx="91">
                  <c:v>4.8580073841709996</c:v>
                </c:pt>
                <c:pt idx="92">
                  <c:v>7.5987317025990002</c:v>
                </c:pt>
                <c:pt idx="93">
                  <c:v>5.5044482822680001</c:v>
                </c:pt>
                <c:pt idx="94">
                  <c:v>2.0551041937819998</c:v>
                </c:pt>
                <c:pt idx="95">
                  <c:v>2.7294997509329999</c:v>
                </c:pt>
                <c:pt idx="96">
                  <c:v>0</c:v>
                </c:pt>
                <c:pt idx="97">
                  <c:v>0</c:v>
                </c:pt>
                <c:pt idx="98">
                  <c:v>2.7184439626749999</c:v>
                </c:pt>
                <c:pt idx="99">
                  <c:v>2.033457148279</c:v>
                </c:pt>
                <c:pt idx="100">
                  <c:v>4.0533145980120002</c:v>
                </c:pt>
                <c:pt idx="101">
                  <c:v>4.0418465849759997</c:v>
                </c:pt>
                <c:pt idx="102">
                  <c:v>1.343544269783</c:v>
                </c:pt>
                <c:pt idx="103">
                  <c:v>1.343048047543</c:v>
                </c:pt>
                <c:pt idx="104">
                  <c:v>0.67126708374699995</c:v>
                </c:pt>
                <c:pt idx="105">
                  <c:v>4.6920034854879997</c:v>
                </c:pt>
                <c:pt idx="106">
                  <c:v>2.0083009773730001</c:v>
                </c:pt>
                <c:pt idx="107">
                  <c:v>2.0050125313280001</c:v>
                </c:pt>
                <c:pt idx="108">
                  <c:v>2.6681964326209999</c:v>
                </c:pt>
                <c:pt idx="109">
                  <c:v>0.66542011298799997</c:v>
                </c:pt>
                <c:pt idx="110">
                  <c:v>0.66529173042300005</c:v>
                </c:pt>
                <c:pt idx="111">
                  <c:v>0</c:v>
                </c:pt>
                <c:pt idx="112">
                  <c:v>1.9920583274670001</c:v>
                </c:pt>
                <c:pt idx="113">
                  <c:v>1.3264094758689999</c:v>
                </c:pt>
                <c:pt idx="114">
                  <c:v>0.66177833073000003</c:v>
                </c:pt>
                <c:pt idx="115">
                  <c:v>1.981126468509</c:v>
                </c:pt>
                <c:pt idx="116">
                  <c:v>2.635810116239</c:v>
                </c:pt>
                <c:pt idx="117">
                  <c:v>0.65706044298999999</c:v>
                </c:pt>
                <c:pt idx="118">
                  <c:v>0</c:v>
                </c:pt>
                <c:pt idx="119">
                  <c:v>1.310547284546</c:v>
                </c:pt>
                <c:pt idx="120">
                  <c:v>0</c:v>
                </c:pt>
                <c:pt idx="121">
                  <c:v>0</c:v>
                </c:pt>
                <c:pt idx="122">
                  <c:v>1.937533906843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0.63874091390999999</c:v>
                </c:pt>
                <c:pt idx="127">
                  <c:v>0.63609589781700004</c:v>
                </c:pt>
                <c:pt idx="128">
                  <c:v>0</c:v>
                </c:pt>
                <c:pt idx="129">
                  <c:v>0</c:v>
                </c:pt>
                <c:pt idx="131">
                  <c:v>0.62569217196500004</c:v>
                </c:pt>
                <c:pt idx="132">
                  <c:v>0.62477742304299999</c:v>
                </c:pt>
                <c:pt idx="133">
                  <c:v>0</c:v>
                </c:pt>
                <c:pt idx="135">
                  <c:v>0</c:v>
                </c:pt>
                <c:pt idx="136">
                  <c:v>0</c:v>
                </c:pt>
                <c:pt idx="137">
                  <c:v>0</c:v>
                </c:pt>
                <c:pt idx="138">
                  <c:v>0.61216369257100001</c:v>
                </c:pt>
                <c:pt idx="139">
                  <c:v>0</c:v>
                </c:pt>
                <c:pt idx="141">
                  <c:v>0</c:v>
                </c:pt>
                <c:pt idx="142">
                  <c:v>0</c:v>
                </c:pt>
                <c:pt idx="143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.59870201403300005</c:v>
                </c:pt>
                <c:pt idx="148">
                  <c:v>0</c:v>
                </c:pt>
                <c:pt idx="150">
                  <c:v>0.59306704622899997</c:v>
                </c:pt>
                <c:pt idx="151">
                  <c:v>1.181872440507</c:v>
                </c:pt>
                <c:pt idx="153">
                  <c:v>0.58960873564299998</c:v>
                </c:pt>
                <c:pt idx="154">
                  <c:v>1.176020933172</c:v>
                </c:pt>
                <c:pt idx="155">
                  <c:v>0</c:v>
                </c:pt>
                <c:pt idx="156">
                  <c:v>0.58436473709400005</c:v>
                </c:pt>
                <c:pt idx="157">
                  <c:v>1.747457449411</c:v>
                </c:pt>
                <c:pt idx="158">
                  <c:v>1.160853691804</c:v>
                </c:pt>
                <c:pt idx="159">
                  <c:v>0</c:v>
                </c:pt>
                <c:pt idx="161">
                  <c:v>2.8889209880100002</c:v>
                </c:pt>
                <c:pt idx="162">
                  <c:v>0.57605013940399996</c:v>
                </c:pt>
                <c:pt idx="163">
                  <c:v>2.2968441361559999</c:v>
                </c:pt>
                <c:pt idx="164">
                  <c:v>0.57225261519399995</c:v>
                </c:pt>
                <c:pt idx="165">
                  <c:v>2.8521719289230001</c:v>
                </c:pt>
                <c:pt idx="166">
                  <c:v>0</c:v>
                </c:pt>
                <c:pt idx="167">
                  <c:v>0.56951500102499997</c:v>
                </c:pt>
                <c:pt idx="168">
                  <c:v>2.8458570013769999</c:v>
                </c:pt>
                <c:pt idx="169">
                  <c:v>2.843817540666</c:v>
                </c:pt>
                <c:pt idx="170">
                  <c:v>1.1343591721440001</c:v>
                </c:pt>
                <c:pt idx="171">
                  <c:v>2.828918334785</c:v>
                </c:pt>
                <c:pt idx="172">
                  <c:v>1.6929449341439999</c:v>
                </c:pt>
                <c:pt idx="173">
                  <c:v>0.563742347197</c:v>
                </c:pt>
                <c:pt idx="174">
                  <c:v>0</c:v>
                </c:pt>
                <c:pt idx="175">
                  <c:v>2.810093857134</c:v>
                </c:pt>
                <c:pt idx="176">
                  <c:v>1.6823404720640001</c:v>
                </c:pt>
                <c:pt idx="177">
                  <c:v>1.118474400917</c:v>
                </c:pt>
                <c:pt idx="178">
                  <c:v>0.55786760685900005</c:v>
                </c:pt>
                <c:pt idx="179">
                  <c:v>1.1127802815329999</c:v>
                </c:pt>
                <c:pt idx="180">
                  <c:v>0.55594471685699998</c:v>
                </c:pt>
                <c:pt idx="181">
                  <c:v>0.55544446666199998</c:v>
                </c:pt>
                <c:pt idx="182">
                  <c:v>1.1081928698870001</c:v>
                </c:pt>
                <c:pt idx="183">
                  <c:v>2.2106897904810001</c:v>
                </c:pt>
                <c:pt idx="184">
                  <c:v>2.205120289311</c:v>
                </c:pt>
                <c:pt idx="185">
                  <c:v>1.6496931570719999</c:v>
                </c:pt>
                <c:pt idx="186">
                  <c:v>0.54867276059199999</c:v>
                </c:pt>
                <c:pt idx="187">
                  <c:v>0</c:v>
                </c:pt>
                <c:pt idx="188">
                  <c:v>1.095404231546</c:v>
                </c:pt>
                <c:pt idx="189">
                  <c:v>1.640339222151</c:v>
                </c:pt>
                <c:pt idx="190">
                  <c:v>1.0913456291600001</c:v>
                </c:pt>
                <c:pt idx="191">
                  <c:v>2.1781153856620001</c:v>
                </c:pt>
                <c:pt idx="192">
                  <c:v>1.087163319109</c:v>
                </c:pt>
                <c:pt idx="193">
                  <c:v>1.6278072893210001</c:v>
                </c:pt>
                <c:pt idx="194">
                  <c:v>0.54223171730200004</c:v>
                </c:pt>
                <c:pt idx="195">
                  <c:v>0.54192317697000003</c:v>
                </c:pt>
                <c:pt idx="196">
                  <c:v>1.623420547092</c:v>
                </c:pt>
                <c:pt idx="197">
                  <c:v>0.540277702739</c:v>
                </c:pt>
                <c:pt idx="198">
                  <c:v>0</c:v>
                </c:pt>
                <c:pt idx="199">
                  <c:v>1.615508885298</c:v>
                </c:pt>
                <c:pt idx="200">
                  <c:v>0.53745525684899997</c:v>
                </c:pt>
                <c:pt idx="201">
                  <c:v>0.53708577259699997</c:v>
                </c:pt>
                <c:pt idx="202">
                  <c:v>1.0735949326309999</c:v>
                </c:pt>
                <c:pt idx="203">
                  <c:v>2.142864795945</c:v>
                </c:pt>
                <c:pt idx="204">
                  <c:v>1.604569814832</c:v>
                </c:pt>
                <c:pt idx="205">
                  <c:v>2.1353491028859999</c:v>
                </c:pt>
                <c:pt idx="206">
                  <c:v>0.53296381175700003</c:v>
                </c:pt>
                <c:pt idx="207">
                  <c:v>1.595804099088</c:v>
                </c:pt>
                <c:pt idx="208">
                  <c:v>0.53169429704600002</c:v>
                </c:pt>
                <c:pt idx="209">
                  <c:v>0</c:v>
                </c:pt>
                <c:pt idx="210">
                  <c:v>0.53056590159000006</c:v>
                </c:pt>
                <c:pt idx="211">
                  <c:v>3.1793469621330002</c:v>
                </c:pt>
                <c:pt idx="212">
                  <c:v>2.6448589232250002</c:v>
                </c:pt>
                <c:pt idx="213">
                  <c:v>2.112311608208</c:v>
                </c:pt>
                <c:pt idx="214">
                  <c:v>4.2156072318740003</c:v>
                </c:pt>
                <c:pt idx="215">
                  <c:v>1.5801199837769999</c:v>
                </c:pt>
                <c:pt idx="216">
                  <c:v>1.0530084451270001</c:v>
                </c:pt>
                <c:pt idx="217">
                  <c:v>1.576980293002</c:v>
                </c:pt>
                <c:pt idx="218">
                  <c:v>3.6742320854939998</c:v>
                </c:pt>
                <c:pt idx="219">
                  <c:v>0.52418593923599999</c:v>
                </c:pt>
                <c:pt idx="220">
                  <c:v>2.0941092706209998</c:v>
                </c:pt>
                <c:pt idx="221">
                  <c:v>2.091284571548</c:v>
                </c:pt>
                <c:pt idx="222">
                  <c:v>1.5679633723749999</c:v>
                </c:pt>
                <c:pt idx="223">
                  <c:v>1.5674882046509999</c:v>
                </c:pt>
                <c:pt idx="224">
                  <c:v>3.6544364858930001</c:v>
                </c:pt>
                <c:pt idx="225">
                  <c:v>3.1295476238900002</c:v>
                </c:pt>
                <c:pt idx="226">
                  <c:v>2.6061891780600002</c:v>
                </c:pt>
                <c:pt idx="227">
                  <c:v>5.2084689705459999</c:v>
                </c:pt>
                <c:pt idx="228">
                  <c:v>1.561337129117</c:v>
                </c:pt>
                <c:pt idx="229">
                  <c:v>1.561077143228</c:v>
                </c:pt>
                <c:pt idx="230">
                  <c:v>2.0812412522820001</c:v>
                </c:pt>
                <c:pt idx="231">
                  <c:v>4.1596256336920003</c:v>
                </c:pt>
                <c:pt idx="232">
                  <c:v>5.1967489138790004</c:v>
                </c:pt>
                <c:pt idx="233">
                  <c:v>4.1551534290400003</c:v>
                </c:pt>
                <c:pt idx="234">
                  <c:v>4.1529101517880003</c:v>
                </c:pt>
                <c:pt idx="235">
                  <c:v>3.112501361719</c:v>
                </c:pt>
                <c:pt idx="236">
                  <c:v>2.074764125253</c:v>
                </c:pt>
                <c:pt idx="237">
                  <c:v>2.0745704342589999</c:v>
                </c:pt>
                <c:pt idx="238">
                  <c:v>6.2209688122089997</c:v>
                </c:pt>
                <c:pt idx="239">
                  <c:v>5.1812934580979997</c:v>
                </c:pt>
                <c:pt idx="240">
                  <c:v>5.1787443616419999</c:v>
                </c:pt>
                <c:pt idx="241">
                  <c:v>9.3166255182370001</c:v>
                </c:pt>
                <c:pt idx="242">
                  <c:v>2.0689476814850001</c:v>
                </c:pt>
                <c:pt idx="243">
                  <c:v>3.6203588292790001</c:v>
                </c:pt>
                <c:pt idx="244">
                  <c:v>5.1715934713799996</c:v>
                </c:pt>
                <c:pt idx="245">
                  <c:v>5.1689470337990002</c:v>
                </c:pt>
                <c:pt idx="246">
                  <c:v>6.2002686783090004</c:v>
                </c:pt>
                <c:pt idx="247">
                  <c:v>7.2311808518329999</c:v>
                </c:pt>
                <c:pt idx="248">
                  <c:v>10.325085311017</c:v>
                </c:pt>
                <c:pt idx="249">
                  <c:v>8.254826493865</c:v>
                </c:pt>
                <c:pt idx="250">
                  <c:v>3.6111326059479998</c:v>
                </c:pt>
                <c:pt idx="251">
                  <c:v>2.579194156577</c:v>
                </c:pt>
                <c:pt idx="252">
                  <c:v>11.343831533789</c:v>
                </c:pt>
                <c:pt idx="253">
                  <c:v>17.015484090522001</c:v>
                </c:pt>
                <c:pt idx="254">
                  <c:v>16.490935139089999</c:v>
                </c:pt>
                <c:pt idx="255">
                  <c:v>11.848341232227</c:v>
                </c:pt>
                <c:pt idx="256">
                  <c:v>12.873326467559</c:v>
                </c:pt>
                <c:pt idx="257">
                  <c:v>7.7234788608380001</c:v>
                </c:pt>
                <c:pt idx="258">
                  <c:v>8.2380805272370008</c:v>
                </c:pt>
                <c:pt idx="259">
                  <c:v>20.587781151885999</c:v>
                </c:pt>
                <c:pt idx="260">
                  <c:v>29.841070574130999</c:v>
                </c:pt>
                <c:pt idx="261">
                  <c:v>24.173845956024</c:v>
                </c:pt>
                <c:pt idx="262">
                  <c:v>32.392244371204001</c:v>
                </c:pt>
                <c:pt idx="263">
                  <c:v>28.265282524345999</c:v>
                </c:pt>
                <c:pt idx="264">
                  <c:v>23.124595319581001</c:v>
                </c:pt>
                <c:pt idx="265">
                  <c:v>13.360602665954</c:v>
                </c:pt>
                <c:pt idx="266">
                  <c:v>57.531488216318003</c:v>
                </c:pt>
                <c:pt idx="267">
                  <c:v>51.351837111972003</c:v>
                </c:pt>
                <c:pt idx="268">
                  <c:v>44.150790350485003</c:v>
                </c:pt>
                <c:pt idx="269">
                  <c:v>27.712345850076002</c:v>
                </c:pt>
                <c:pt idx="270">
                  <c:v>58.985248558708001</c:v>
                </c:pt>
                <c:pt idx="271">
                  <c:v>37.439545391602003</c:v>
                </c:pt>
                <c:pt idx="272">
                  <c:v>31.79682852278</c:v>
                </c:pt>
                <c:pt idx="273">
                  <c:v>95.363586491183</c:v>
                </c:pt>
                <c:pt idx="274">
                  <c:v>75.869422572177996</c:v>
                </c:pt>
                <c:pt idx="275">
                  <c:v>72.769760577238003</c:v>
                </c:pt>
                <c:pt idx="276">
                  <c:v>74.784737766804</c:v>
                </c:pt>
                <c:pt idx="277">
                  <c:v>92.652787517980002</c:v>
                </c:pt>
                <c:pt idx="278">
                  <c:v>53.229331408888001</c:v>
                </c:pt>
                <c:pt idx="279">
                  <c:v>30.705615033469002</c:v>
                </c:pt>
                <c:pt idx="280">
                  <c:v>100.26139578185899</c:v>
                </c:pt>
                <c:pt idx="281">
                  <c:v>112.462363447687</c:v>
                </c:pt>
                <c:pt idx="282">
                  <c:v>110.33299109674</c:v>
                </c:pt>
                <c:pt idx="283">
                  <c:v>80.182632543934005</c:v>
                </c:pt>
                <c:pt idx="284">
                  <c:v>110.75271012392</c:v>
                </c:pt>
                <c:pt idx="285">
                  <c:v>78.580649770126001</c:v>
                </c:pt>
                <c:pt idx="286">
                  <c:v>43.875760173053997</c:v>
                </c:pt>
                <c:pt idx="287">
                  <c:v>115.21794544991</c:v>
                </c:pt>
                <c:pt idx="288">
                  <c:v>146.22117608697801</c:v>
                </c:pt>
                <c:pt idx="289">
                  <c:v>91.137281257796005</c:v>
                </c:pt>
                <c:pt idx="290">
                  <c:v>116.50031032833699</c:v>
                </c:pt>
                <c:pt idx="291">
                  <c:v>145.34440525679199</c:v>
                </c:pt>
                <c:pt idx="292">
                  <c:v>89.927143771656006</c:v>
                </c:pt>
                <c:pt idx="293">
                  <c:v>64.513507198081001</c:v>
                </c:pt>
                <c:pt idx="294">
                  <c:v>138.57445966112701</c:v>
                </c:pt>
                <c:pt idx="295">
                  <c:v>160.82308952823499</c:v>
                </c:pt>
                <c:pt idx="296">
                  <c:v>107.98917066344799</c:v>
                </c:pt>
                <c:pt idx="297">
                  <c:v>155.52257103632701</c:v>
                </c:pt>
                <c:pt idx="298">
                  <c:v>122.454762579443</c:v>
                </c:pt>
                <c:pt idx="299">
                  <c:v>83.468653726495006</c:v>
                </c:pt>
                <c:pt idx="300">
                  <c:v>69.290605812318006</c:v>
                </c:pt>
                <c:pt idx="301">
                  <c:v>140.967471377034</c:v>
                </c:pt>
                <c:pt idx="302">
                  <c:v>111.533356548421</c:v>
                </c:pt>
                <c:pt idx="303">
                  <c:v>118.070307336</c:v>
                </c:pt>
                <c:pt idx="304">
                  <c:v>95.770473458976994</c:v>
                </c:pt>
                <c:pt idx="305">
                  <c:v>113.245153107447</c:v>
                </c:pt>
                <c:pt idx="306">
                  <c:v>63.901943222870997</c:v>
                </c:pt>
                <c:pt idx="307">
                  <c:v>50.306365767523999</c:v>
                </c:pt>
                <c:pt idx="308">
                  <c:v>128.13040157575199</c:v>
                </c:pt>
                <c:pt idx="309">
                  <c:v>107.911683070915</c:v>
                </c:pt>
                <c:pt idx="310">
                  <c:v>85.217731303479994</c:v>
                </c:pt>
                <c:pt idx="311">
                  <c:v>83.096391814504003</c:v>
                </c:pt>
                <c:pt idx="312">
                  <c:v>72.466303169026006</c:v>
                </c:pt>
                <c:pt idx="313">
                  <c:v>52.959485993214997</c:v>
                </c:pt>
                <c:pt idx="314">
                  <c:v>42.959832556559</c:v>
                </c:pt>
                <c:pt idx="315">
                  <c:v>74.863374341826002</c:v>
                </c:pt>
                <c:pt idx="316">
                  <c:v>89.754073837684004</c:v>
                </c:pt>
                <c:pt idx="317">
                  <c:v>59.280366243068997</c:v>
                </c:pt>
                <c:pt idx="318">
                  <c:v>45.286248905167</c:v>
                </c:pt>
                <c:pt idx="319">
                  <c:v>58.152249547704002</c:v>
                </c:pt>
                <c:pt idx="320">
                  <c:v>38.259919008223001</c:v>
                </c:pt>
                <c:pt idx="321">
                  <c:v>27.324033226024</c:v>
                </c:pt>
                <c:pt idx="322">
                  <c:v>65.513561803607999</c:v>
                </c:pt>
                <c:pt idx="323">
                  <c:v>63.462158209176998</c:v>
                </c:pt>
                <c:pt idx="324">
                  <c:v>35.184395968164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200-4031-9260-04D76AD8008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42360815"/>
        <c:axId val="692383071"/>
      </c:lineChart>
      <c:dateAx>
        <c:axId val="442360815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692383071"/>
        <c:crosses val="autoZero"/>
        <c:auto val="1"/>
        <c:lblOffset val="100"/>
        <c:baseTimeUnit val="days"/>
      </c:dateAx>
      <c:valAx>
        <c:axId val="692383071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sz="1800" b="0" i="0" baseline="0" dirty="0">
                    <a:effectLst/>
                  </a:rPr>
                  <a:t>Počet nově pozitivních na 100 tis. dané kategorie v populaci v daném dni</a:t>
                </a:r>
                <a:endParaRPr lang="cs-CZ" sz="1600" dirty="0">
                  <a:effectLst/>
                </a:endParaRPr>
              </a:p>
            </c:rich>
          </c:tx>
          <c:layout>
            <c:manualLayout>
              <c:xMode val="edge"/>
              <c:yMode val="edge"/>
              <c:x val="2.72039458206043E-2"/>
              <c:y val="0.1226784091670097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423608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3305263600732"/>
          <c:y val="0.15289779551144775"/>
          <c:w val="0.79684300815915377"/>
          <c:h val="0.80416535940744349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S posilující dávkou</c:v>
                </c:pt>
              </c:strCache>
            </c:strRef>
          </c:tx>
          <c:spPr>
            <a:solidFill>
              <a:schemeClr val="tx2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2</c:f>
              <c:strCache>
                <c:ptCount val="11"/>
                <c:pt idx="0">
                  <c:v>Lékaři</c:v>
                </c:pt>
                <c:pt idx="1">
                  <c:v>Sestry</c:v>
                </c:pt>
                <c:pt idx="2">
                  <c:v>Ostatní ZP</c:v>
                </c:pt>
                <c:pt idx="3">
                  <c:v>   farmaceuti</c:v>
                </c:pt>
                <c:pt idx="4">
                  <c:v>   § 36 Ošetřovatel</c:v>
                </c:pt>
                <c:pt idx="5">
                  <c:v>   § 42 Sanitář</c:v>
                </c:pt>
                <c:pt idx="6">
                  <c:v>   § 18 Zdravotnický záchranář</c:v>
                </c:pt>
                <c:pt idx="7">
                  <c:v>   § 24 Fyzioterapeut</c:v>
                </c:pt>
                <c:pt idx="8">
                  <c:v>   laboratorní pracovníci</c:v>
                </c:pt>
                <c:pt idx="9">
                  <c:v>   ostatní NLZP</c:v>
                </c:pt>
                <c:pt idx="10">
                  <c:v>CELKEM</c:v>
                </c:pt>
              </c:strCache>
            </c:strRef>
          </c:cat>
          <c:val>
            <c:numRef>
              <c:f>List1!$B$2:$B$12</c:f>
              <c:numCache>
                <c:formatCode>General</c:formatCode>
                <c:ptCount val="11"/>
                <c:pt idx="0">
                  <c:v>64.758189999999999</c:v>
                </c:pt>
                <c:pt idx="1">
                  <c:v>47.554560000000002</c:v>
                </c:pt>
                <c:pt idx="2">
                  <c:v>41.965440000000001</c:v>
                </c:pt>
                <c:pt idx="3">
                  <c:v>42.768129999999999</c:v>
                </c:pt>
                <c:pt idx="4">
                  <c:v>37.462609999999998</c:v>
                </c:pt>
                <c:pt idx="5">
                  <c:v>41.522280000000002</c:v>
                </c:pt>
                <c:pt idx="6">
                  <c:v>53.830910000000003</c:v>
                </c:pt>
                <c:pt idx="7">
                  <c:v>37.194789999999998</c:v>
                </c:pt>
                <c:pt idx="8">
                  <c:v>43.901440000000001</c:v>
                </c:pt>
                <c:pt idx="9">
                  <c:v>42.145449999999997</c:v>
                </c:pt>
                <c:pt idx="10">
                  <c:v>49.08489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7DA-4934-90AD-68162997E19E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S ukončovací dávkou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2</c:f>
              <c:strCache>
                <c:ptCount val="11"/>
                <c:pt idx="0">
                  <c:v>Lékaři</c:v>
                </c:pt>
                <c:pt idx="1">
                  <c:v>Sestry</c:v>
                </c:pt>
                <c:pt idx="2">
                  <c:v>Ostatní ZP</c:v>
                </c:pt>
                <c:pt idx="3">
                  <c:v>   farmaceuti</c:v>
                </c:pt>
                <c:pt idx="4">
                  <c:v>   § 36 Ošetřovatel</c:v>
                </c:pt>
                <c:pt idx="5">
                  <c:v>   § 42 Sanitář</c:v>
                </c:pt>
                <c:pt idx="6">
                  <c:v>   § 18 Zdravotnický záchranář</c:v>
                </c:pt>
                <c:pt idx="7">
                  <c:v>   § 24 Fyzioterapeut</c:v>
                </c:pt>
                <c:pt idx="8">
                  <c:v>   laboratorní pracovníci</c:v>
                </c:pt>
                <c:pt idx="9">
                  <c:v>   ostatní NLZP</c:v>
                </c:pt>
                <c:pt idx="10">
                  <c:v>CELKEM</c:v>
                </c:pt>
              </c:strCache>
            </c:strRef>
          </c:cat>
          <c:val>
            <c:numRef>
              <c:f>List1!$C$2:$C$12</c:f>
              <c:numCache>
                <c:formatCode>General</c:formatCode>
                <c:ptCount val="11"/>
                <c:pt idx="0">
                  <c:v>22.50779</c:v>
                </c:pt>
                <c:pt idx="1">
                  <c:v>34.399509999999999</c:v>
                </c:pt>
                <c:pt idx="2">
                  <c:v>37.360520000000001</c:v>
                </c:pt>
                <c:pt idx="3">
                  <c:v>35.221229999999998</c:v>
                </c:pt>
                <c:pt idx="4">
                  <c:v>40.524369999999998</c:v>
                </c:pt>
                <c:pt idx="5">
                  <c:v>38.872990000000001</c:v>
                </c:pt>
                <c:pt idx="6">
                  <c:v>31.153680000000001</c:v>
                </c:pt>
                <c:pt idx="7">
                  <c:v>37.40992</c:v>
                </c:pt>
                <c:pt idx="8">
                  <c:v>37.026949999999999</c:v>
                </c:pt>
                <c:pt idx="9">
                  <c:v>37.583069999999999</c:v>
                </c:pt>
                <c:pt idx="10">
                  <c:v>33.007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7DA-4934-90AD-68162997E19E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Pouze s 1. dávkou</c:v>
                </c:pt>
              </c:strCache>
            </c:strRef>
          </c:tx>
          <c:spPr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2</c:f>
              <c:strCache>
                <c:ptCount val="11"/>
                <c:pt idx="0">
                  <c:v>Lékaři</c:v>
                </c:pt>
                <c:pt idx="1">
                  <c:v>Sestry</c:v>
                </c:pt>
                <c:pt idx="2">
                  <c:v>Ostatní ZP</c:v>
                </c:pt>
                <c:pt idx="3">
                  <c:v>   farmaceuti</c:v>
                </c:pt>
                <c:pt idx="4">
                  <c:v>   § 36 Ošetřovatel</c:v>
                </c:pt>
                <c:pt idx="5">
                  <c:v>   § 42 Sanitář</c:v>
                </c:pt>
                <c:pt idx="6">
                  <c:v>   § 18 Zdravotnický záchranář</c:v>
                </c:pt>
                <c:pt idx="7">
                  <c:v>   § 24 Fyzioterapeut</c:v>
                </c:pt>
                <c:pt idx="8">
                  <c:v>   laboratorní pracovníci</c:v>
                </c:pt>
                <c:pt idx="9">
                  <c:v>   ostatní NLZP</c:v>
                </c:pt>
                <c:pt idx="10">
                  <c:v>CELKEM</c:v>
                </c:pt>
              </c:strCache>
            </c:strRef>
          </c:cat>
          <c:val>
            <c:numRef>
              <c:f>List1!$D$2:$D$12</c:f>
              <c:numCache>
                <c:formatCode>General</c:formatCode>
                <c:ptCount val="11"/>
                <c:pt idx="0">
                  <c:v>0.67695490000000003</c:v>
                </c:pt>
                <c:pt idx="1">
                  <c:v>1.2488366</c:v>
                </c:pt>
                <c:pt idx="2">
                  <c:v>1.2336735999999999</c:v>
                </c:pt>
                <c:pt idx="3">
                  <c:v>1.3021563</c:v>
                </c:pt>
                <c:pt idx="4">
                  <c:v>1.3725145000000001</c:v>
                </c:pt>
                <c:pt idx="5">
                  <c:v>1.1757426</c:v>
                </c:pt>
                <c:pt idx="6">
                  <c:v>1.0127697</c:v>
                </c:pt>
                <c:pt idx="7">
                  <c:v>1.2799828</c:v>
                </c:pt>
                <c:pt idx="8">
                  <c:v>1.2659951</c:v>
                </c:pt>
                <c:pt idx="9">
                  <c:v>1.2207192</c:v>
                </c:pt>
                <c:pt idx="10">
                  <c:v>1.1236448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7DA-4934-90AD-68162997E19E}"/>
            </c:ext>
          </c:extLst>
        </c:ser>
        <c:ser>
          <c:idx val="3"/>
          <c:order val="3"/>
          <c:tx>
            <c:strRef>
              <c:f>List1!$E$1</c:f>
              <c:strCache>
                <c:ptCount val="1"/>
                <c:pt idx="0">
                  <c:v>Prodělali onemocnění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2</c:f>
              <c:strCache>
                <c:ptCount val="11"/>
                <c:pt idx="0">
                  <c:v>Lékaři</c:v>
                </c:pt>
                <c:pt idx="1">
                  <c:v>Sestry</c:v>
                </c:pt>
                <c:pt idx="2">
                  <c:v>Ostatní ZP</c:v>
                </c:pt>
                <c:pt idx="3">
                  <c:v>   farmaceuti</c:v>
                </c:pt>
                <c:pt idx="4">
                  <c:v>   § 36 Ošetřovatel</c:v>
                </c:pt>
                <c:pt idx="5">
                  <c:v>   § 42 Sanitář</c:v>
                </c:pt>
                <c:pt idx="6">
                  <c:v>   § 18 Zdravotnický záchranář</c:v>
                </c:pt>
                <c:pt idx="7">
                  <c:v>   § 24 Fyzioterapeut</c:v>
                </c:pt>
                <c:pt idx="8">
                  <c:v>   laboratorní pracovníci</c:v>
                </c:pt>
                <c:pt idx="9">
                  <c:v>   ostatní NLZP</c:v>
                </c:pt>
                <c:pt idx="10">
                  <c:v>CELKEM</c:v>
                </c:pt>
              </c:strCache>
            </c:strRef>
          </c:cat>
          <c:val>
            <c:numRef>
              <c:f>List1!$E$2:$E$12</c:f>
              <c:numCache>
                <c:formatCode>General</c:formatCode>
                <c:ptCount val="11"/>
                <c:pt idx="0">
                  <c:v>2.4802550000000001</c:v>
                </c:pt>
                <c:pt idx="1">
                  <c:v>7.5091640000000002</c:v>
                </c:pt>
                <c:pt idx="2">
                  <c:v>7.7231639999999997</c:v>
                </c:pt>
                <c:pt idx="3">
                  <c:v>7.2388690000000002</c:v>
                </c:pt>
                <c:pt idx="4">
                  <c:v>9.8539499999999993</c:v>
                </c:pt>
                <c:pt idx="5">
                  <c:v>7.9942760000000002</c:v>
                </c:pt>
                <c:pt idx="6">
                  <c:v>5.4161159999999997</c:v>
                </c:pt>
                <c:pt idx="7">
                  <c:v>9.2825640000000007</c:v>
                </c:pt>
                <c:pt idx="8">
                  <c:v>7.3645519999999998</c:v>
                </c:pt>
                <c:pt idx="9">
                  <c:v>7.0132440000000003</c:v>
                </c:pt>
                <c:pt idx="10">
                  <c:v>6.5367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7DA-4934-90AD-68162997E19E}"/>
            </c:ext>
          </c:extLst>
        </c:ser>
        <c:ser>
          <c:idx val="4"/>
          <c:order val="4"/>
          <c:tx>
            <c:strRef>
              <c:f>List1!$F$1</c:f>
              <c:strCache>
                <c:ptCount val="1"/>
                <c:pt idx="0">
                  <c:v>Ostatní</c:v>
                </c:pt>
              </c:strCache>
            </c:strRef>
          </c:tx>
          <c:spPr>
            <a:solidFill>
              <a:schemeClr val="bg1">
                <a:lumMod val="95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2</c:f>
              <c:strCache>
                <c:ptCount val="11"/>
                <c:pt idx="0">
                  <c:v>Lékaři</c:v>
                </c:pt>
                <c:pt idx="1">
                  <c:v>Sestry</c:v>
                </c:pt>
                <c:pt idx="2">
                  <c:v>Ostatní ZP</c:v>
                </c:pt>
                <c:pt idx="3">
                  <c:v>   farmaceuti</c:v>
                </c:pt>
                <c:pt idx="4">
                  <c:v>   § 36 Ošetřovatel</c:v>
                </c:pt>
                <c:pt idx="5">
                  <c:v>   § 42 Sanitář</c:v>
                </c:pt>
                <c:pt idx="6">
                  <c:v>   § 18 Zdravotnický záchranář</c:v>
                </c:pt>
                <c:pt idx="7">
                  <c:v>   § 24 Fyzioterapeut</c:v>
                </c:pt>
                <c:pt idx="8">
                  <c:v>   laboratorní pracovníci</c:v>
                </c:pt>
                <c:pt idx="9">
                  <c:v>   ostatní NLZP</c:v>
                </c:pt>
                <c:pt idx="10">
                  <c:v>CELKEM</c:v>
                </c:pt>
              </c:strCache>
            </c:strRef>
          </c:cat>
          <c:val>
            <c:numRef>
              <c:f>List1!$F$2:$F$12</c:f>
              <c:numCache>
                <c:formatCode>General</c:formatCode>
                <c:ptCount val="11"/>
                <c:pt idx="0">
                  <c:v>9.5768079999999998</c:v>
                </c:pt>
                <c:pt idx="1">
                  <c:v>9.2879260000000006</c:v>
                </c:pt>
                <c:pt idx="2">
                  <c:v>11.7172</c:v>
                </c:pt>
                <c:pt idx="3">
                  <c:v>13.469620000000001</c:v>
                </c:pt>
                <c:pt idx="4">
                  <c:v>10.78656</c:v>
                </c:pt>
                <c:pt idx="5">
                  <c:v>10.43472</c:v>
                </c:pt>
                <c:pt idx="6">
                  <c:v>8.5865259999999992</c:v>
                </c:pt>
                <c:pt idx="7">
                  <c:v>14.832739999999999</c:v>
                </c:pt>
                <c:pt idx="8">
                  <c:v>10.44106</c:v>
                </c:pt>
                <c:pt idx="9">
                  <c:v>12.037520000000001</c:v>
                </c:pt>
                <c:pt idx="10">
                  <c:v>10.246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7DA-4934-90AD-68162997E19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159492928"/>
        <c:axId val="160289136"/>
      </c:barChart>
      <c:catAx>
        <c:axId val="159492928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one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60289136"/>
        <c:crosses val="autoZero"/>
        <c:auto val="1"/>
        <c:lblAlgn val="ctr"/>
        <c:lblOffset val="100"/>
        <c:noMultiLvlLbl val="0"/>
      </c:catAx>
      <c:valAx>
        <c:axId val="160289136"/>
        <c:scaling>
          <c:orientation val="minMax"/>
          <c:max val="100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59492928"/>
        <c:crosses val="autoZero"/>
        <c:crossBetween val="between"/>
        <c:majorUnit val="5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1.368428679273505E-2"/>
          <c:y val="5.0081916086988656E-2"/>
          <c:w val="0.98087724341670113"/>
          <c:h val="4.2435842974244235E-2"/>
        </c:manualLayout>
      </c:layout>
      <c:overlay val="0"/>
      <c:spPr>
        <a:solidFill>
          <a:schemeClr val="bg1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99CCFF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5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rgbClr val="002060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184</c:f>
              <c:numCache>
                <c:formatCode>m/d/yyyy</c:formatCode>
                <c:ptCount val="183"/>
                <c:pt idx="0">
                  <c:v>44373</c:v>
                </c:pt>
                <c:pt idx="1">
                  <c:v>44374</c:v>
                </c:pt>
                <c:pt idx="2">
                  <c:v>44375</c:v>
                </c:pt>
                <c:pt idx="3">
                  <c:v>44376</c:v>
                </c:pt>
                <c:pt idx="4">
                  <c:v>44377</c:v>
                </c:pt>
                <c:pt idx="5">
                  <c:v>44378</c:v>
                </c:pt>
                <c:pt idx="6">
                  <c:v>44379</c:v>
                </c:pt>
                <c:pt idx="7">
                  <c:v>44380</c:v>
                </c:pt>
                <c:pt idx="8">
                  <c:v>44381</c:v>
                </c:pt>
                <c:pt idx="9">
                  <c:v>44382</c:v>
                </c:pt>
                <c:pt idx="10">
                  <c:v>44383</c:v>
                </c:pt>
                <c:pt idx="11">
                  <c:v>44384</c:v>
                </c:pt>
                <c:pt idx="12">
                  <c:v>44385</c:v>
                </c:pt>
                <c:pt idx="13">
                  <c:v>44386</c:v>
                </c:pt>
                <c:pt idx="14">
                  <c:v>44387</c:v>
                </c:pt>
                <c:pt idx="15">
                  <c:v>44388</c:v>
                </c:pt>
                <c:pt idx="16">
                  <c:v>44389</c:v>
                </c:pt>
                <c:pt idx="17">
                  <c:v>44390</c:v>
                </c:pt>
                <c:pt idx="18">
                  <c:v>44391</c:v>
                </c:pt>
                <c:pt idx="19">
                  <c:v>44392</c:v>
                </c:pt>
                <c:pt idx="20">
                  <c:v>44393</c:v>
                </c:pt>
                <c:pt idx="21">
                  <c:v>44394</c:v>
                </c:pt>
                <c:pt idx="22">
                  <c:v>44395</c:v>
                </c:pt>
                <c:pt idx="23">
                  <c:v>44396</c:v>
                </c:pt>
                <c:pt idx="24">
                  <c:v>44397</c:v>
                </c:pt>
                <c:pt idx="25">
                  <c:v>44398</c:v>
                </c:pt>
                <c:pt idx="26">
                  <c:v>44399</c:v>
                </c:pt>
                <c:pt idx="27">
                  <c:v>44400</c:v>
                </c:pt>
                <c:pt idx="28">
                  <c:v>44401</c:v>
                </c:pt>
                <c:pt idx="29">
                  <c:v>44402</c:v>
                </c:pt>
                <c:pt idx="30">
                  <c:v>44403</c:v>
                </c:pt>
                <c:pt idx="31">
                  <c:v>44404</c:v>
                </c:pt>
                <c:pt idx="32">
                  <c:v>44405</c:v>
                </c:pt>
                <c:pt idx="33">
                  <c:v>44406</c:v>
                </c:pt>
                <c:pt idx="34">
                  <c:v>44407</c:v>
                </c:pt>
                <c:pt idx="35">
                  <c:v>44408</c:v>
                </c:pt>
                <c:pt idx="36">
                  <c:v>44409</c:v>
                </c:pt>
                <c:pt idx="37">
                  <c:v>44410</c:v>
                </c:pt>
                <c:pt idx="38">
                  <c:v>44411</c:v>
                </c:pt>
                <c:pt idx="39">
                  <c:v>44412</c:v>
                </c:pt>
                <c:pt idx="40">
                  <c:v>44413</c:v>
                </c:pt>
                <c:pt idx="41">
                  <c:v>44414</c:v>
                </c:pt>
                <c:pt idx="42">
                  <c:v>44415</c:v>
                </c:pt>
                <c:pt idx="43">
                  <c:v>44416</c:v>
                </c:pt>
                <c:pt idx="44">
                  <c:v>44417</c:v>
                </c:pt>
                <c:pt idx="45">
                  <c:v>44418</c:v>
                </c:pt>
                <c:pt idx="46">
                  <c:v>44419</c:v>
                </c:pt>
                <c:pt idx="47">
                  <c:v>44420</c:v>
                </c:pt>
                <c:pt idx="48">
                  <c:v>44421</c:v>
                </c:pt>
                <c:pt idx="49">
                  <c:v>44422</c:v>
                </c:pt>
                <c:pt idx="50">
                  <c:v>44423</c:v>
                </c:pt>
                <c:pt idx="51">
                  <c:v>44424</c:v>
                </c:pt>
                <c:pt idx="52">
                  <c:v>44425</c:v>
                </c:pt>
                <c:pt idx="53">
                  <c:v>44426</c:v>
                </c:pt>
                <c:pt idx="54">
                  <c:v>44427</c:v>
                </c:pt>
                <c:pt idx="55">
                  <c:v>44428</c:v>
                </c:pt>
                <c:pt idx="56">
                  <c:v>44429</c:v>
                </c:pt>
                <c:pt idx="57">
                  <c:v>44430</c:v>
                </c:pt>
                <c:pt idx="58">
                  <c:v>44431</c:v>
                </c:pt>
                <c:pt idx="59">
                  <c:v>44432</c:v>
                </c:pt>
                <c:pt idx="60">
                  <c:v>44433</c:v>
                </c:pt>
                <c:pt idx="61">
                  <c:v>44434</c:v>
                </c:pt>
                <c:pt idx="62">
                  <c:v>44435</c:v>
                </c:pt>
                <c:pt idx="63">
                  <c:v>44436</c:v>
                </c:pt>
                <c:pt idx="64">
                  <c:v>44437</c:v>
                </c:pt>
                <c:pt idx="65">
                  <c:v>44438</c:v>
                </c:pt>
                <c:pt idx="66">
                  <c:v>44439</c:v>
                </c:pt>
                <c:pt idx="67">
                  <c:v>44440</c:v>
                </c:pt>
                <c:pt idx="68">
                  <c:v>44441</c:v>
                </c:pt>
                <c:pt idx="69">
                  <c:v>44442</c:v>
                </c:pt>
                <c:pt idx="70">
                  <c:v>44443</c:v>
                </c:pt>
                <c:pt idx="71">
                  <c:v>44444</c:v>
                </c:pt>
                <c:pt idx="72">
                  <c:v>44445</c:v>
                </c:pt>
                <c:pt idx="73">
                  <c:v>44446</c:v>
                </c:pt>
                <c:pt idx="74">
                  <c:v>44447</c:v>
                </c:pt>
                <c:pt idx="75">
                  <c:v>44448</c:v>
                </c:pt>
                <c:pt idx="76">
                  <c:v>44449</c:v>
                </c:pt>
                <c:pt idx="77">
                  <c:v>44450</c:v>
                </c:pt>
                <c:pt idx="78">
                  <c:v>44451</c:v>
                </c:pt>
                <c:pt idx="79">
                  <c:v>44452</c:v>
                </c:pt>
                <c:pt idx="80">
                  <c:v>44453</c:v>
                </c:pt>
                <c:pt idx="81">
                  <c:v>44454</c:v>
                </c:pt>
                <c:pt idx="82">
                  <c:v>44455</c:v>
                </c:pt>
                <c:pt idx="83">
                  <c:v>44456</c:v>
                </c:pt>
                <c:pt idx="84">
                  <c:v>44457</c:v>
                </c:pt>
                <c:pt idx="85">
                  <c:v>44458</c:v>
                </c:pt>
                <c:pt idx="86">
                  <c:v>44459</c:v>
                </c:pt>
                <c:pt idx="87">
                  <c:v>44460</c:v>
                </c:pt>
                <c:pt idx="88">
                  <c:v>44461</c:v>
                </c:pt>
                <c:pt idx="89">
                  <c:v>44462</c:v>
                </c:pt>
                <c:pt idx="90">
                  <c:v>44463</c:v>
                </c:pt>
                <c:pt idx="91">
                  <c:v>44464</c:v>
                </c:pt>
                <c:pt idx="92">
                  <c:v>44465</c:v>
                </c:pt>
                <c:pt idx="93">
                  <c:v>44466</c:v>
                </c:pt>
                <c:pt idx="94">
                  <c:v>44467</c:v>
                </c:pt>
                <c:pt idx="95">
                  <c:v>44468</c:v>
                </c:pt>
                <c:pt idx="96">
                  <c:v>44469</c:v>
                </c:pt>
                <c:pt idx="97">
                  <c:v>44470</c:v>
                </c:pt>
                <c:pt idx="98">
                  <c:v>44471</c:v>
                </c:pt>
                <c:pt idx="99">
                  <c:v>44472</c:v>
                </c:pt>
                <c:pt idx="100">
                  <c:v>44473</c:v>
                </c:pt>
                <c:pt idx="101">
                  <c:v>44474</c:v>
                </c:pt>
                <c:pt idx="102">
                  <c:v>44475</c:v>
                </c:pt>
                <c:pt idx="103">
                  <c:v>44476</c:v>
                </c:pt>
                <c:pt idx="104">
                  <c:v>44477</c:v>
                </c:pt>
                <c:pt idx="105">
                  <c:v>44478</c:v>
                </c:pt>
                <c:pt idx="106">
                  <c:v>44479</c:v>
                </c:pt>
                <c:pt idx="107">
                  <c:v>44480</c:v>
                </c:pt>
                <c:pt idx="108">
                  <c:v>44481</c:v>
                </c:pt>
                <c:pt idx="109">
                  <c:v>44482</c:v>
                </c:pt>
                <c:pt idx="110">
                  <c:v>44483</c:v>
                </c:pt>
                <c:pt idx="111">
                  <c:v>44484</c:v>
                </c:pt>
                <c:pt idx="112">
                  <c:v>44485</c:v>
                </c:pt>
                <c:pt idx="113">
                  <c:v>44486</c:v>
                </c:pt>
                <c:pt idx="114">
                  <c:v>44487</c:v>
                </c:pt>
                <c:pt idx="115">
                  <c:v>44488</c:v>
                </c:pt>
                <c:pt idx="116">
                  <c:v>44489</c:v>
                </c:pt>
                <c:pt idx="117">
                  <c:v>44490</c:v>
                </c:pt>
                <c:pt idx="118">
                  <c:v>44491</c:v>
                </c:pt>
                <c:pt idx="119">
                  <c:v>44492</c:v>
                </c:pt>
                <c:pt idx="120">
                  <c:v>44493</c:v>
                </c:pt>
                <c:pt idx="121">
                  <c:v>44494</c:v>
                </c:pt>
                <c:pt idx="122">
                  <c:v>44495</c:v>
                </c:pt>
                <c:pt idx="123">
                  <c:v>44496</c:v>
                </c:pt>
                <c:pt idx="124">
                  <c:v>44497</c:v>
                </c:pt>
                <c:pt idx="125">
                  <c:v>44498</c:v>
                </c:pt>
                <c:pt idx="126">
                  <c:v>44499</c:v>
                </c:pt>
                <c:pt idx="127">
                  <c:v>44500</c:v>
                </c:pt>
                <c:pt idx="128">
                  <c:v>44501</c:v>
                </c:pt>
                <c:pt idx="129">
                  <c:v>44502</c:v>
                </c:pt>
                <c:pt idx="130">
                  <c:v>44503</c:v>
                </c:pt>
                <c:pt idx="131">
                  <c:v>44504</c:v>
                </c:pt>
                <c:pt idx="132">
                  <c:v>44505</c:v>
                </c:pt>
                <c:pt idx="133">
                  <c:v>44506</c:v>
                </c:pt>
                <c:pt idx="134">
                  <c:v>44507</c:v>
                </c:pt>
                <c:pt idx="135">
                  <c:v>44508</c:v>
                </c:pt>
                <c:pt idx="136">
                  <c:v>44509</c:v>
                </c:pt>
                <c:pt idx="137">
                  <c:v>44510</c:v>
                </c:pt>
                <c:pt idx="138">
                  <c:v>44511</c:v>
                </c:pt>
                <c:pt idx="139">
                  <c:v>44512</c:v>
                </c:pt>
                <c:pt idx="140">
                  <c:v>44513</c:v>
                </c:pt>
                <c:pt idx="141">
                  <c:v>44514</c:v>
                </c:pt>
                <c:pt idx="142">
                  <c:v>44515</c:v>
                </c:pt>
                <c:pt idx="143">
                  <c:v>44516</c:v>
                </c:pt>
                <c:pt idx="144">
                  <c:v>44517</c:v>
                </c:pt>
                <c:pt idx="145">
                  <c:v>44518</c:v>
                </c:pt>
                <c:pt idx="146">
                  <c:v>44519</c:v>
                </c:pt>
                <c:pt idx="147">
                  <c:v>44520</c:v>
                </c:pt>
                <c:pt idx="148">
                  <c:v>44521</c:v>
                </c:pt>
                <c:pt idx="149">
                  <c:v>44522</c:v>
                </c:pt>
                <c:pt idx="150">
                  <c:v>44523</c:v>
                </c:pt>
                <c:pt idx="151">
                  <c:v>44524</c:v>
                </c:pt>
                <c:pt idx="152">
                  <c:v>44525</c:v>
                </c:pt>
                <c:pt idx="153">
                  <c:v>44526</c:v>
                </c:pt>
                <c:pt idx="154">
                  <c:v>44527</c:v>
                </c:pt>
                <c:pt idx="155">
                  <c:v>44528</c:v>
                </c:pt>
                <c:pt idx="156">
                  <c:v>44529</c:v>
                </c:pt>
                <c:pt idx="157">
                  <c:v>44530</c:v>
                </c:pt>
                <c:pt idx="158">
                  <c:v>44531</c:v>
                </c:pt>
                <c:pt idx="159">
                  <c:v>44532</c:v>
                </c:pt>
                <c:pt idx="160">
                  <c:v>44533</c:v>
                </c:pt>
                <c:pt idx="161">
                  <c:v>44534</c:v>
                </c:pt>
                <c:pt idx="162">
                  <c:v>44535</c:v>
                </c:pt>
                <c:pt idx="163">
                  <c:v>44536</c:v>
                </c:pt>
                <c:pt idx="164">
                  <c:v>44537</c:v>
                </c:pt>
                <c:pt idx="165">
                  <c:v>44538</c:v>
                </c:pt>
                <c:pt idx="166">
                  <c:v>44539</c:v>
                </c:pt>
                <c:pt idx="167">
                  <c:v>44540</c:v>
                </c:pt>
                <c:pt idx="168">
                  <c:v>44541</c:v>
                </c:pt>
                <c:pt idx="169">
                  <c:v>44542</c:v>
                </c:pt>
                <c:pt idx="170">
                  <c:v>44543</c:v>
                </c:pt>
                <c:pt idx="171">
                  <c:v>44544</c:v>
                </c:pt>
                <c:pt idx="172">
                  <c:v>44545</c:v>
                </c:pt>
                <c:pt idx="173">
                  <c:v>44546</c:v>
                </c:pt>
                <c:pt idx="174">
                  <c:v>44547</c:v>
                </c:pt>
                <c:pt idx="175">
                  <c:v>44548</c:v>
                </c:pt>
                <c:pt idx="176">
                  <c:v>44549</c:v>
                </c:pt>
                <c:pt idx="177">
                  <c:v>44550</c:v>
                </c:pt>
                <c:pt idx="178">
                  <c:v>44551</c:v>
                </c:pt>
                <c:pt idx="179">
                  <c:v>44552</c:v>
                </c:pt>
                <c:pt idx="180">
                  <c:v>44553</c:v>
                </c:pt>
                <c:pt idx="181">
                  <c:v>44554</c:v>
                </c:pt>
                <c:pt idx="182">
                  <c:v>44555</c:v>
                </c:pt>
              </c:numCache>
            </c:numRef>
          </c:cat>
          <c:val>
            <c:numRef>
              <c:f>Sheet1!$B$2:$B$184</c:f>
              <c:numCache>
                <c:formatCode>#\ ##0_ ;\-#\ ##0\ </c:formatCode>
                <c:ptCount val="18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1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1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1</c:v>
                </c:pt>
                <c:pt idx="32">
                  <c:v>2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1</c:v>
                </c:pt>
                <c:pt idx="44">
                  <c:v>0</c:v>
                </c:pt>
                <c:pt idx="45">
                  <c:v>0</c:v>
                </c:pt>
                <c:pt idx="46">
                  <c:v>1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1</c:v>
                </c:pt>
                <c:pt idx="59">
                  <c:v>0</c:v>
                </c:pt>
                <c:pt idx="60">
                  <c:v>0</c:v>
                </c:pt>
                <c:pt idx="61">
                  <c:v>1</c:v>
                </c:pt>
                <c:pt idx="62">
                  <c:v>1</c:v>
                </c:pt>
                <c:pt idx="63">
                  <c:v>1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2</c:v>
                </c:pt>
                <c:pt idx="68">
                  <c:v>1</c:v>
                </c:pt>
                <c:pt idx="69">
                  <c:v>1</c:v>
                </c:pt>
                <c:pt idx="70">
                  <c:v>0</c:v>
                </c:pt>
                <c:pt idx="71">
                  <c:v>0</c:v>
                </c:pt>
                <c:pt idx="72">
                  <c:v>1</c:v>
                </c:pt>
                <c:pt idx="73">
                  <c:v>2</c:v>
                </c:pt>
                <c:pt idx="74">
                  <c:v>1</c:v>
                </c:pt>
                <c:pt idx="75">
                  <c:v>1</c:v>
                </c:pt>
                <c:pt idx="76">
                  <c:v>0</c:v>
                </c:pt>
                <c:pt idx="77">
                  <c:v>0</c:v>
                </c:pt>
                <c:pt idx="78">
                  <c:v>1</c:v>
                </c:pt>
                <c:pt idx="79">
                  <c:v>0</c:v>
                </c:pt>
                <c:pt idx="80">
                  <c:v>1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1</c:v>
                </c:pt>
                <c:pt idx="85">
                  <c:v>0</c:v>
                </c:pt>
                <c:pt idx="86">
                  <c:v>4</c:v>
                </c:pt>
                <c:pt idx="87">
                  <c:v>4</c:v>
                </c:pt>
                <c:pt idx="88">
                  <c:v>2</c:v>
                </c:pt>
                <c:pt idx="89">
                  <c:v>0</c:v>
                </c:pt>
                <c:pt idx="90">
                  <c:v>0</c:v>
                </c:pt>
                <c:pt idx="91">
                  <c:v>1</c:v>
                </c:pt>
                <c:pt idx="92">
                  <c:v>1</c:v>
                </c:pt>
                <c:pt idx="93">
                  <c:v>5</c:v>
                </c:pt>
                <c:pt idx="94">
                  <c:v>2</c:v>
                </c:pt>
                <c:pt idx="95">
                  <c:v>7</c:v>
                </c:pt>
                <c:pt idx="96">
                  <c:v>3</c:v>
                </c:pt>
                <c:pt idx="97">
                  <c:v>2</c:v>
                </c:pt>
                <c:pt idx="98">
                  <c:v>0</c:v>
                </c:pt>
                <c:pt idx="99">
                  <c:v>0</c:v>
                </c:pt>
                <c:pt idx="100">
                  <c:v>3</c:v>
                </c:pt>
                <c:pt idx="101">
                  <c:v>5</c:v>
                </c:pt>
                <c:pt idx="102">
                  <c:v>2</c:v>
                </c:pt>
                <c:pt idx="103">
                  <c:v>1</c:v>
                </c:pt>
                <c:pt idx="104">
                  <c:v>2</c:v>
                </c:pt>
                <c:pt idx="105">
                  <c:v>1</c:v>
                </c:pt>
                <c:pt idx="106">
                  <c:v>0</c:v>
                </c:pt>
                <c:pt idx="107">
                  <c:v>2</c:v>
                </c:pt>
                <c:pt idx="108">
                  <c:v>3</c:v>
                </c:pt>
                <c:pt idx="109">
                  <c:v>1</c:v>
                </c:pt>
                <c:pt idx="110">
                  <c:v>3</c:v>
                </c:pt>
                <c:pt idx="111">
                  <c:v>6</c:v>
                </c:pt>
                <c:pt idx="112">
                  <c:v>2</c:v>
                </c:pt>
                <c:pt idx="113">
                  <c:v>1</c:v>
                </c:pt>
                <c:pt idx="114">
                  <c:v>12</c:v>
                </c:pt>
                <c:pt idx="115">
                  <c:v>8</c:v>
                </c:pt>
                <c:pt idx="116">
                  <c:v>9</c:v>
                </c:pt>
                <c:pt idx="117">
                  <c:v>7</c:v>
                </c:pt>
                <c:pt idx="118">
                  <c:v>10</c:v>
                </c:pt>
                <c:pt idx="119">
                  <c:v>0</c:v>
                </c:pt>
                <c:pt idx="120">
                  <c:v>3</c:v>
                </c:pt>
                <c:pt idx="121">
                  <c:v>19</c:v>
                </c:pt>
                <c:pt idx="122">
                  <c:v>5</c:v>
                </c:pt>
                <c:pt idx="123">
                  <c:v>17</c:v>
                </c:pt>
                <c:pt idx="124">
                  <c:v>3</c:v>
                </c:pt>
                <c:pt idx="125">
                  <c:v>8</c:v>
                </c:pt>
                <c:pt idx="126">
                  <c:v>5</c:v>
                </c:pt>
                <c:pt idx="127">
                  <c:v>4</c:v>
                </c:pt>
                <c:pt idx="128">
                  <c:v>41</c:v>
                </c:pt>
                <c:pt idx="129">
                  <c:v>25</c:v>
                </c:pt>
                <c:pt idx="130">
                  <c:v>19</c:v>
                </c:pt>
                <c:pt idx="131">
                  <c:v>24</c:v>
                </c:pt>
                <c:pt idx="132">
                  <c:v>27</c:v>
                </c:pt>
                <c:pt idx="133">
                  <c:v>13</c:v>
                </c:pt>
                <c:pt idx="134">
                  <c:v>5</c:v>
                </c:pt>
                <c:pt idx="135">
                  <c:v>50</c:v>
                </c:pt>
                <c:pt idx="136">
                  <c:v>25</c:v>
                </c:pt>
                <c:pt idx="137">
                  <c:v>29</c:v>
                </c:pt>
                <c:pt idx="138">
                  <c:v>36</c:v>
                </c:pt>
                <c:pt idx="139">
                  <c:v>34</c:v>
                </c:pt>
                <c:pt idx="140">
                  <c:v>20</c:v>
                </c:pt>
                <c:pt idx="141">
                  <c:v>14</c:v>
                </c:pt>
                <c:pt idx="142">
                  <c:v>55</c:v>
                </c:pt>
                <c:pt idx="143">
                  <c:v>33</c:v>
                </c:pt>
                <c:pt idx="144">
                  <c:v>13</c:v>
                </c:pt>
                <c:pt idx="145">
                  <c:v>42</c:v>
                </c:pt>
                <c:pt idx="146">
                  <c:v>52</c:v>
                </c:pt>
                <c:pt idx="147">
                  <c:v>11</c:v>
                </c:pt>
                <c:pt idx="148">
                  <c:v>7</c:v>
                </c:pt>
                <c:pt idx="149">
                  <c:v>68</c:v>
                </c:pt>
                <c:pt idx="150">
                  <c:v>44</c:v>
                </c:pt>
                <c:pt idx="151">
                  <c:v>45</c:v>
                </c:pt>
                <c:pt idx="152">
                  <c:v>48</c:v>
                </c:pt>
                <c:pt idx="153">
                  <c:v>48</c:v>
                </c:pt>
                <c:pt idx="154">
                  <c:v>21</c:v>
                </c:pt>
                <c:pt idx="155">
                  <c:v>8</c:v>
                </c:pt>
                <c:pt idx="156">
                  <c:v>42</c:v>
                </c:pt>
                <c:pt idx="157">
                  <c:v>47</c:v>
                </c:pt>
                <c:pt idx="158">
                  <c:v>40</c:v>
                </c:pt>
                <c:pt idx="159">
                  <c:v>32</c:v>
                </c:pt>
                <c:pt idx="160" formatCode="General">
                  <c:v>26</c:v>
                </c:pt>
                <c:pt idx="161" formatCode="General">
                  <c:v>20</c:v>
                </c:pt>
                <c:pt idx="162" formatCode="General">
                  <c:v>9</c:v>
                </c:pt>
                <c:pt idx="163" formatCode="General">
                  <c:v>46</c:v>
                </c:pt>
                <c:pt idx="164" formatCode="General">
                  <c:v>33</c:v>
                </c:pt>
                <c:pt idx="165" formatCode="General">
                  <c:v>27</c:v>
                </c:pt>
                <c:pt idx="166" formatCode="General">
                  <c:v>36</c:v>
                </c:pt>
                <c:pt idx="167" formatCode="General">
                  <c:v>22</c:v>
                </c:pt>
                <c:pt idx="168" formatCode="General">
                  <c:v>16</c:v>
                </c:pt>
                <c:pt idx="169" formatCode="General">
                  <c:v>6</c:v>
                </c:pt>
                <c:pt idx="170" formatCode="General">
                  <c:v>18</c:v>
                </c:pt>
                <c:pt idx="171" formatCode="General">
                  <c:v>40</c:v>
                </c:pt>
                <c:pt idx="172" formatCode="General">
                  <c:v>35</c:v>
                </c:pt>
                <c:pt idx="173" formatCode="General">
                  <c:v>21</c:v>
                </c:pt>
                <c:pt idx="174" formatCode="General">
                  <c:v>17</c:v>
                </c:pt>
                <c:pt idx="175" formatCode="General">
                  <c:v>8</c:v>
                </c:pt>
                <c:pt idx="176" formatCode="General">
                  <c:v>9</c:v>
                </c:pt>
                <c:pt idx="177" formatCode="General">
                  <c:v>22</c:v>
                </c:pt>
                <c:pt idx="178" formatCode="General">
                  <c:v>18</c:v>
                </c:pt>
                <c:pt idx="179" formatCode="General">
                  <c:v>6</c:v>
                </c:pt>
                <c:pt idx="180" formatCode="General">
                  <c:v>4</c:v>
                </c:pt>
                <c:pt idx="181" formatCode="General">
                  <c:v>1</c:v>
                </c:pt>
                <c:pt idx="182" formatCode="General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32B-4678-9FFD-46841F3CB3B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dd/mm/yy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36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  <c:majorUnit val="7"/>
        <c:majorTimeUnit val="days"/>
      </c:dateAx>
      <c:valAx>
        <c:axId val="53392507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85000"/>
                </a:schemeClr>
              </a:solidFill>
              <a:round/>
            </a:ln>
            <a:effectLst/>
          </c:spPr>
        </c:majorGridlines>
        <c:numFmt formatCode="#\ ##0_ ;\-#\ ##0\ 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529925759"/>
        <c:crosses val="autoZero"/>
        <c:crossBetween val="between"/>
        <c:majorUnit val="2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19856463840257E-2"/>
          <c:y val="1.7338673528478215E-2"/>
          <c:w val="0.80334957098880577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20</c:v>
                </c:pt>
              </c:strCache>
            </c:strRef>
          </c:tx>
          <c:spPr>
            <a:ln w="28575" cap="rnd">
              <a:solidFill>
                <a:srgbClr val="00B0F0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O$1:$AE$1</c:f>
              <c:strCache>
                <c:ptCount val="17"/>
                <c:pt idx="0">
                  <c:v>29.08 - 04.09</c:v>
                </c:pt>
                <c:pt idx="1">
                  <c:v>05.09 - 11.09</c:v>
                </c:pt>
                <c:pt idx="2">
                  <c:v>12.09 - 18.09</c:v>
                </c:pt>
                <c:pt idx="3">
                  <c:v>19.09 - 25.09</c:v>
                </c:pt>
                <c:pt idx="4">
                  <c:v>26.09 - 02.10</c:v>
                </c:pt>
                <c:pt idx="5">
                  <c:v>03.10 - 09.10</c:v>
                </c:pt>
                <c:pt idx="6">
                  <c:v>10.10 - 16.10</c:v>
                </c:pt>
                <c:pt idx="7">
                  <c:v>17.10 - 23.10</c:v>
                </c:pt>
                <c:pt idx="8">
                  <c:v>24.10 - 30.10</c:v>
                </c:pt>
                <c:pt idx="9">
                  <c:v>31.10 - 06.11</c:v>
                </c:pt>
                <c:pt idx="10">
                  <c:v>07.11 - 13.11</c:v>
                </c:pt>
                <c:pt idx="11">
                  <c:v>14.11 - 20.11</c:v>
                </c:pt>
                <c:pt idx="12">
                  <c:v>21.11 - 27.11</c:v>
                </c:pt>
                <c:pt idx="13">
                  <c:v>28.11 - 04.12</c:v>
                </c:pt>
                <c:pt idx="14">
                  <c:v>05.12 - 11.12</c:v>
                </c:pt>
                <c:pt idx="15">
                  <c:v>12.12 - 18.12</c:v>
                </c:pt>
                <c:pt idx="16">
                  <c:v>19.12 - 25.12</c:v>
                </c:pt>
              </c:strCache>
            </c:strRef>
          </c:cat>
          <c:val>
            <c:numRef>
              <c:f>List1!$O$2:$AE$2</c:f>
              <c:numCache>
                <c:formatCode>General</c:formatCode>
                <c:ptCount val="17"/>
                <c:pt idx="0">
                  <c:v>0.9748964</c:v>
                </c:pt>
                <c:pt idx="1">
                  <c:v>0.55708360000000001</c:v>
                </c:pt>
                <c:pt idx="2">
                  <c:v>1.5319799999999999</c:v>
                </c:pt>
                <c:pt idx="3">
                  <c:v>4.3173984000000001</c:v>
                </c:pt>
                <c:pt idx="4">
                  <c:v>23.8153267</c:v>
                </c:pt>
                <c:pt idx="5">
                  <c:v>57.101075799999997</c:v>
                </c:pt>
                <c:pt idx="6">
                  <c:v>138.29602030000001</c:v>
                </c:pt>
                <c:pt idx="7">
                  <c:v>189.96553040000001</c:v>
                </c:pt>
                <c:pt idx="8">
                  <c:v>276.45276969999998</c:v>
                </c:pt>
                <c:pt idx="9">
                  <c:v>233.5573273</c:v>
                </c:pt>
                <c:pt idx="10">
                  <c:v>175.89916779999999</c:v>
                </c:pt>
                <c:pt idx="11">
                  <c:v>102.9212074</c:v>
                </c:pt>
                <c:pt idx="12">
                  <c:v>73.535043999999999</c:v>
                </c:pt>
                <c:pt idx="13">
                  <c:v>61.418474199999999</c:v>
                </c:pt>
                <c:pt idx="14">
                  <c:v>64.064621700000004</c:v>
                </c:pt>
                <c:pt idx="15">
                  <c:v>64.900247199999995</c:v>
                </c:pt>
                <c:pt idx="16">
                  <c:v>71.30670929999999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D609-4D55-AD38-109C0C8C5BC2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2021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O$1:$AE$1</c:f>
              <c:strCache>
                <c:ptCount val="17"/>
                <c:pt idx="0">
                  <c:v>29.08 - 04.09</c:v>
                </c:pt>
                <c:pt idx="1">
                  <c:v>05.09 - 11.09</c:v>
                </c:pt>
                <c:pt idx="2">
                  <c:v>12.09 - 18.09</c:v>
                </c:pt>
                <c:pt idx="3">
                  <c:v>19.09 - 25.09</c:v>
                </c:pt>
                <c:pt idx="4">
                  <c:v>26.09 - 02.10</c:v>
                </c:pt>
                <c:pt idx="5">
                  <c:v>03.10 - 09.10</c:v>
                </c:pt>
                <c:pt idx="6">
                  <c:v>10.10 - 16.10</c:v>
                </c:pt>
                <c:pt idx="7">
                  <c:v>17.10 - 23.10</c:v>
                </c:pt>
                <c:pt idx="8">
                  <c:v>24.10 - 30.10</c:v>
                </c:pt>
                <c:pt idx="9">
                  <c:v>31.10 - 06.11</c:v>
                </c:pt>
                <c:pt idx="10">
                  <c:v>07.11 - 13.11</c:v>
                </c:pt>
                <c:pt idx="11">
                  <c:v>14.11 - 20.11</c:v>
                </c:pt>
                <c:pt idx="12">
                  <c:v>21.11 - 27.11</c:v>
                </c:pt>
                <c:pt idx="13">
                  <c:v>28.11 - 04.12</c:v>
                </c:pt>
                <c:pt idx="14">
                  <c:v>05.12 - 11.12</c:v>
                </c:pt>
                <c:pt idx="15">
                  <c:v>12.12 - 18.12</c:v>
                </c:pt>
                <c:pt idx="16">
                  <c:v>19.12 - 25.12</c:v>
                </c:pt>
              </c:strCache>
            </c:strRef>
          </c:cat>
          <c:val>
            <c:numRef>
              <c:f>List1!$O$3:$AE$3</c:f>
              <c:numCache>
                <c:formatCode>General</c:formatCode>
                <c:ptCount val="17"/>
                <c:pt idx="0">
                  <c:v>0.55708360000000001</c:v>
                </c:pt>
                <c:pt idx="1">
                  <c:v>0.69635449999999999</c:v>
                </c:pt>
                <c:pt idx="2">
                  <c:v>0.41781269999999998</c:v>
                </c:pt>
                <c:pt idx="3">
                  <c:v>1.5319799999999999</c:v>
                </c:pt>
                <c:pt idx="4">
                  <c:v>2.7854182999999999</c:v>
                </c:pt>
                <c:pt idx="5">
                  <c:v>1.9497928</c:v>
                </c:pt>
                <c:pt idx="6">
                  <c:v>2.3676054999999998</c:v>
                </c:pt>
                <c:pt idx="7">
                  <c:v>6.5457330000000002</c:v>
                </c:pt>
                <c:pt idx="8">
                  <c:v>8.3562550000000009</c:v>
                </c:pt>
                <c:pt idx="9">
                  <c:v>21.308450199999999</c:v>
                </c:pt>
                <c:pt idx="10">
                  <c:v>27.714912399999999</c:v>
                </c:pt>
                <c:pt idx="11">
                  <c:v>30.639601599999999</c:v>
                </c:pt>
                <c:pt idx="12">
                  <c:v>39.135127599999997</c:v>
                </c:pt>
                <c:pt idx="13">
                  <c:v>30.2217889</c:v>
                </c:pt>
                <c:pt idx="14">
                  <c:v>26.043661400000001</c:v>
                </c:pt>
                <c:pt idx="15">
                  <c:v>20.4728247</c:v>
                </c:pt>
                <c:pt idx="16">
                  <c:v>8.49552590000000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609-4D55-AD38-109C0C8C5BC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5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5809610965008587"/>
          <c:y val="0.27545860500728103"/>
          <c:w val="0.14190389034991419"/>
          <c:h val="0.4944791082477983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5105486733009034"/>
          <c:y val="6.7225186576531884E-2"/>
          <c:w val="0.60212445764572553"/>
          <c:h val="0.9054811758888358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%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Plzeňský kraj</c:v>
                </c:pt>
                <c:pt idx="1">
                  <c:v>Královéhradecký kraj</c:v>
                </c:pt>
                <c:pt idx="2">
                  <c:v>Liberecký kraj</c:v>
                </c:pt>
                <c:pt idx="3">
                  <c:v>Středočeský kraj</c:v>
                </c:pt>
                <c:pt idx="4">
                  <c:v>Kraj Vysočina</c:v>
                </c:pt>
                <c:pt idx="5">
                  <c:v>Jihočeský kraj</c:v>
                </c:pt>
                <c:pt idx="6">
                  <c:v>Pardubický kraj</c:v>
                </c:pt>
                <c:pt idx="7">
                  <c:v>Ústecký kraj</c:v>
                </c:pt>
                <c:pt idx="8">
                  <c:v>Hlavní město Praha</c:v>
                </c:pt>
                <c:pt idx="9">
                  <c:v>ČR</c:v>
                </c:pt>
                <c:pt idx="10">
                  <c:v>Olomoucký kraj</c:v>
                </c:pt>
                <c:pt idx="11">
                  <c:v>Zlínský kraj</c:v>
                </c:pt>
                <c:pt idx="12">
                  <c:v>Jihomoravský kraj</c:v>
                </c:pt>
                <c:pt idx="13">
                  <c:v>Karlovarský kraj</c:v>
                </c:pt>
                <c:pt idx="14">
                  <c:v>Moravskoslezs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93.652500000000003</c:v>
                </c:pt>
                <c:pt idx="1">
                  <c:v>90.216840000000005</c:v>
                </c:pt>
                <c:pt idx="2">
                  <c:v>89.992180000000005</c:v>
                </c:pt>
                <c:pt idx="3">
                  <c:v>89.820539999999994</c:v>
                </c:pt>
                <c:pt idx="4">
                  <c:v>89.819000000000003</c:v>
                </c:pt>
                <c:pt idx="5">
                  <c:v>89.259799999999998</c:v>
                </c:pt>
                <c:pt idx="6">
                  <c:v>89.045150000000007</c:v>
                </c:pt>
                <c:pt idx="7">
                  <c:v>88.990380000000002</c:v>
                </c:pt>
                <c:pt idx="8">
                  <c:v>88.920950000000005</c:v>
                </c:pt>
                <c:pt idx="9">
                  <c:v>87.809950000000001</c:v>
                </c:pt>
                <c:pt idx="10">
                  <c:v>87.136359999999996</c:v>
                </c:pt>
                <c:pt idx="11">
                  <c:v>84.8249</c:v>
                </c:pt>
                <c:pt idx="12">
                  <c:v>84.808130000000006</c:v>
                </c:pt>
                <c:pt idx="13">
                  <c:v>84.055940000000007</c:v>
                </c:pt>
                <c:pt idx="14">
                  <c:v>84.006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A38-498E-AF17-8F5778D625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83764288"/>
        <c:axId val="50879584"/>
      </c:barChart>
      <c:catAx>
        <c:axId val="383764288"/>
        <c:scaling>
          <c:orientation val="maxMin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0879584"/>
        <c:crosses val="autoZero"/>
        <c:auto val="1"/>
        <c:lblAlgn val="ctr"/>
        <c:lblOffset val="100"/>
        <c:noMultiLvlLbl val="0"/>
      </c:catAx>
      <c:valAx>
        <c:axId val="50879584"/>
        <c:scaling>
          <c:orientation val="minMax"/>
          <c:min val="0"/>
        </c:scaling>
        <c:delete val="0"/>
        <c:axPos val="t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837642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5105486733009034"/>
          <c:y val="6.7225186576531884E-2"/>
          <c:w val="0.60212445764572553"/>
          <c:h val="0.9054811758888358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%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Ústecký kraj</c:v>
                </c:pt>
                <c:pt idx="1">
                  <c:v>Plzeňský kraj</c:v>
                </c:pt>
                <c:pt idx="2">
                  <c:v>Středočeský kraj</c:v>
                </c:pt>
                <c:pt idx="3">
                  <c:v>Kraj Vysočina</c:v>
                </c:pt>
                <c:pt idx="4">
                  <c:v>Hlavní město Praha</c:v>
                </c:pt>
                <c:pt idx="5">
                  <c:v>Královéhradecký kraj</c:v>
                </c:pt>
                <c:pt idx="6">
                  <c:v>Karlovarský kraj</c:v>
                </c:pt>
                <c:pt idx="7">
                  <c:v>Jihočeský kraj</c:v>
                </c:pt>
                <c:pt idx="8">
                  <c:v>ČR</c:v>
                </c:pt>
                <c:pt idx="9">
                  <c:v>Liberecký kraj</c:v>
                </c:pt>
                <c:pt idx="10">
                  <c:v>Jihomoravský kraj</c:v>
                </c:pt>
                <c:pt idx="11">
                  <c:v>Pardubický kraj</c:v>
                </c:pt>
                <c:pt idx="12">
                  <c:v>Moravskoslezský kraj</c:v>
                </c:pt>
                <c:pt idx="13">
                  <c:v>Zlínský kraj</c:v>
                </c:pt>
                <c:pt idx="14">
                  <c:v>Olomouc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87.93374</c:v>
                </c:pt>
                <c:pt idx="1">
                  <c:v>87.698740000000001</c:v>
                </c:pt>
                <c:pt idx="2">
                  <c:v>87.060900000000004</c:v>
                </c:pt>
                <c:pt idx="3">
                  <c:v>86.794870000000003</c:v>
                </c:pt>
                <c:pt idx="4">
                  <c:v>85.944779999999994</c:v>
                </c:pt>
                <c:pt idx="5">
                  <c:v>85.939890000000005</c:v>
                </c:pt>
                <c:pt idx="6">
                  <c:v>84.424530000000004</c:v>
                </c:pt>
                <c:pt idx="7">
                  <c:v>84.066649999999996</c:v>
                </c:pt>
                <c:pt idx="8">
                  <c:v>83.504220000000004</c:v>
                </c:pt>
                <c:pt idx="9">
                  <c:v>83.239239999999995</c:v>
                </c:pt>
                <c:pt idx="10">
                  <c:v>82.536240000000006</c:v>
                </c:pt>
                <c:pt idx="11">
                  <c:v>80.453559999999996</c:v>
                </c:pt>
                <c:pt idx="12">
                  <c:v>78.407749999999993</c:v>
                </c:pt>
                <c:pt idx="13">
                  <c:v>78.405119999999997</c:v>
                </c:pt>
                <c:pt idx="14">
                  <c:v>77.0614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F40-47DE-ACA1-8E4053576F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83764288"/>
        <c:axId val="50879584"/>
      </c:barChart>
      <c:catAx>
        <c:axId val="383764288"/>
        <c:scaling>
          <c:orientation val="maxMin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0879584"/>
        <c:crosses val="autoZero"/>
        <c:auto val="1"/>
        <c:lblAlgn val="ctr"/>
        <c:lblOffset val="100"/>
        <c:noMultiLvlLbl val="0"/>
      </c:catAx>
      <c:valAx>
        <c:axId val="50879584"/>
        <c:scaling>
          <c:orientation val="minMax"/>
          <c:max val="100"/>
        </c:scaling>
        <c:delete val="0"/>
        <c:axPos val="t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837642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51120061166082842"/>
          <c:y val="6.3054247171625041E-2"/>
          <c:w val="0.45963458745004687"/>
          <c:h val="0.9171773225713224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ostatní ZP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37</c:f>
              <c:strCache>
                <c:ptCount val="36"/>
                <c:pt idx="0">
                  <c:v>§ 42 Sanitář</c:v>
                </c:pt>
                <c:pt idx="1">
                  <c:v>§ 24 Fyzioterapeut</c:v>
                </c:pt>
                <c:pt idx="2">
                  <c:v>farmaceut</c:v>
                </c:pt>
                <c:pt idx="3">
                  <c:v>§ 9 Zdravotní laborant</c:v>
                </c:pt>
                <c:pt idx="4">
                  <c:v>§ 19 Farmaceutický asistent</c:v>
                </c:pt>
                <c:pt idx="5">
                  <c:v>§ 36 Ošetřovatel</c:v>
                </c:pt>
                <c:pt idx="6">
                  <c:v>§ 18 Zdravotnický záchranář</c:v>
                </c:pt>
                <c:pt idx="7">
                  <c:v>§ 39 Zubní instrumentářka</c:v>
                </c:pt>
                <c:pt idx="8">
                  <c:v>§ 8 Radiologický asistent</c:v>
                </c:pt>
                <c:pt idx="9">
                  <c:v>§ 26 Odborný pracovník v laboratorních metodách a v přípravě léčivých přípravků</c:v>
                </c:pt>
                <c:pt idx="10">
                  <c:v>§ 16 Zubní technik</c:v>
                </c:pt>
                <c:pt idx="11">
                  <c:v>§ 40 Řidič zdravotnické dopravní služby</c:v>
                </c:pt>
                <c:pt idx="12">
                  <c:v>§ 35 Řidič vozidla zdravotnické záchranné služby</c:v>
                </c:pt>
                <c:pt idx="13">
                  <c:v>§ 17 Dentální hygienistka</c:v>
                </c:pt>
                <c:pt idx="14">
                  <c:v>§ 22 Psycholog ve zdravotnictví</c:v>
                </c:pt>
                <c:pt idx="15">
                  <c:v>§ 37 Masér ve zdravotnictví, nevidomý a slabozraký masér ve zdravotnictví</c:v>
                </c:pt>
                <c:pt idx="16">
                  <c:v>§ 15 Nutriční terapeut</c:v>
                </c:pt>
                <c:pt idx="17">
                  <c:v>§ 11 Optometrista</c:v>
                </c:pt>
                <c:pt idx="18">
                  <c:v>§ 7 Ergoterapeut</c:v>
                </c:pt>
                <c:pt idx="19">
                  <c:v>§ 10 Zdravotně-sociální pracovník</c:v>
                </c:pt>
                <c:pt idx="20">
                  <c:v>§ 23 Logoped ve zdravotnictví</c:v>
                </c:pt>
                <c:pt idx="21">
                  <c:v>§ 30 Laboratorní asistent</c:v>
                </c:pt>
                <c:pt idx="22">
                  <c:v>§ 27 Biomedicínský inženýr</c:v>
                </c:pt>
                <c:pt idx="23">
                  <c:v>§ 33 Asistent zubního technika</c:v>
                </c:pt>
                <c:pt idx="24">
                  <c:v>§ 21a Adiktolog</c:v>
                </c:pt>
                <c:pt idx="25">
                  <c:v>§ 28 Odborný pracovník v ochraně a podpoře veřejného zdraví</c:v>
                </c:pt>
                <c:pt idx="26">
                  <c:v>§ 13 Asistent ochrany a podpory veřejného zdraví</c:v>
                </c:pt>
                <c:pt idx="27">
                  <c:v>§ 14 Ortotik-protetik</c:v>
                </c:pt>
                <c:pt idx="28">
                  <c:v>§ 25 Radiologický fyzik</c:v>
                </c:pt>
                <c:pt idx="29">
                  <c:v>§ 20 Biomedicínský technik</c:v>
                </c:pt>
                <c:pt idx="30">
                  <c:v>§ 12 Ortoptista</c:v>
                </c:pt>
                <c:pt idx="31">
                  <c:v>§ 31 Ortoticko-protetický technik</c:v>
                </c:pt>
                <c:pt idx="32">
                  <c:v>§ 32 Nutriční asistent</c:v>
                </c:pt>
                <c:pt idx="33">
                  <c:v>§ 41 Autoptický laborant</c:v>
                </c:pt>
                <c:pt idx="34">
                  <c:v>§ 21 Radiologický technik</c:v>
                </c:pt>
                <c:pt idx="35">
                  <c:v>§ 23a Zrakový terapeut</c:v>
                </c:pt>
              </c:strCache>
            </c:strRef>
          </c:cat>
          <c:val>
            <c:numRef>
              <c:f>List1!$B$2:$B$37</c:f>
              <c:numCache>
                <c:formatCode>General</c:formatCode>
                <c:ptCount val="36"/>
                <c:pt idx="0">
                  <c:v>3616</c:v>
                </c:pt>
                <c:pt idx="1">
                  <c:v>1624</c:v>
                </c:pt>
                <c:pt idx="2">
                  <c:v>1374</c:v>
                </c:pt>
                <c:pt idx="3">
                  <c:v>1180</c:v>
                </c:pt>
                <c:pt idx="4">
                  <c:v>1118</c:v>
                </c:pt>
                <c:pt idx="5">
                  <c:v>819</c:v>
                </c:pt>
                <c:pt idx="6">
                  <c:v>619</c:v>
                </c:pt>
                <c:pt idx="7">
                  <c:v>606</c:v>
                </c:pt>
                <c:pt idx="8">
                  <c:v>481</c:v>
                </c:pt>
                <c:pt idx="9">
                  <c:v>457</c:v>
                </c:pt>
                <c:pt idx="10">
                  <c:v>437</c:v>
                </c:pt>
                <c:pt idx="11">
                  <c:v>348</c:v>
                </c:pt>
                <c:pt idx="12">
                  <c:v>266</c:v>
                </c:pt>
                <c:pt idx="13">
                  <c:v>221</c:v>
                </c:pt>
                <c:pt idx="14">
                  <c:v>209</c:v>
                </c:pt>
                <c:pt idx="15">
                  <c:v>194</c:v>
                </c:pt>
                <c:pt idx="16">
                  <c:v>152</c:v>
                </c:pt>
                <c:pt idx="17">
                  <c:v>142</c:v>
                </c:pt>
                <c:pt idx="18">
                  <c:v>132</c:v>
                </c:pt>
                <c:pt idx="19">
                  <c:v>128</c:v>
                </c:pt>
                <c:pt idx="20">
                  <c:v>120</c:v>
                </c:pt>
                <c:pt idx="21">
                  <c:v>107</c:v>
                </c:pt>
                <c:pt idx="22">
                  <c:v>63</c:v>
                </c:pt>
                <c:pt idx="23">
                  <c:v>43</c:v>
                </c:pt>
                <c:pt idx="24">
                  <c:v>33</c:v>
                </c:pt>
                <c:pt idx="25">
                  <c:v>32</c:v>
                </c:pt>
                <c:pt idx="26">
                  <c:v>21</c:v>
                </c:pt>
                <c:pt idx="27">
                  <c:v>18</c:v>
                </c:pt>
                <c:pt idx="28">
                  <c:v>18</c:v>
                </c:pt>
                <c:pt idx="29">
                  <c:v>14</c:v>
                </c:pt>
                <c:pt idx="30">
                  <c:v>9</c:v>
                </c:pt>
                <c:pt idx="31">
                  <c:v>8</c:v>
                </c:pt>
                <c:pt idx="32">
                  <c:v>8</c:v>
                </c:pt>
                <c:pt idx="33">
                  <c:v>4</c:v>
                </c:pt>
                <c:pt idx="34">
                  <c:v>2</c:v>
                </c:pt>
                <c:pt idx="35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EDC-4FEF-9A9E-83836E26FF1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320460415"/>
        <c:axId val="315793487"/>
      </c:barChart>
      <c:catAx>
        <c:axId val="320460415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15793487"/>
        <c:crosses val="autoZero"/>
        <c:auto val="1"/>
        <c:lblAlgn val="ctr"/>
        <c:lblOffset val="100"/>
        <c:tickLblSkip val="1"/>
        <c:noMultiLvlLbl val="0"/>
      </c:catAx>
      <c:valAx>
        <c:axId val="315793487"/>
        <c:scaling>
          <c:orientation val="minMax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204604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51120061166082842"/>
          <c:y val="6.3054247171625041E-2"/>
          <c:w val="0.45963458745004687"/>
          <c:h val="0.9171773225713224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ostatní ZP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37</c:f>
              <c:strCache>
                <c:ptCount val="36"/>
                <c:pt idx="0">
                  <c:v>§ 42 Sanitář</c:v>
                </c:pt>
                <c:pt idx="1">
                  <c:v>§ 24 Fyzioterapeut</c:v>
                </c:pt>
                <c:pt idx="2">
                  <c:v>farmaceut</c:v>
                </c:pt>
                <c:pt idx="3">
                  <c:v>§ 9 Zdravotní laborant</c:v>
                </c:pt>
                <c:pt idx="4">
                  <c:v>§ 19 Farmaceutický asistent</c:v>
                </c:pt>
                <c:pt idx="5">
                  <c:v>§ 36 Ošetřovatel</c:v>
                </c:pt>
                <c:pt idx="6">
                  <c:v>§ 39 Zubní instrumentářka</c:v>
                </c:pt>
                <c:pt idx="7">
                  <c:v>§ 18 Zdravotnický záchranář</c:v>
                </c:pt>
                <c:pt idx="8">
                  <c:v>§ 26 Odborný pracovník v laboratorních metodách a v přípravě léčivých přípravků</c:v>
                </c:pt>
                <c:pt idx="9">
                  <c:v>§ 8 Radiologický asistent</c:v>
                </c:pt>
                <c:pt idx="10">
                  <c:v>§ 16 Zubní technik</c:v>
                </c:pt>
                <c:pt idx="11">
                  <c:v>§ 40 Řidič zdravotnické dopravní služby</c:v>
                </c:pt>
                <c:pt idx="12">
                  <c:v>§ 22 Psycholog ve zdravotnictví</c:v>
                </c:pt>
                <c:pt idx="13">
                  <c:v>§ 17 Dentální hygienistka</c:v>
                </c:pt>
                <c:pt idx="14">
                  <c:v>§ 35 Řidič vozidla zdravotnické záchranné služby</c:v>
                </c:pt>
                <c:pt idx="15">
                  <c:v>§ 37 Masér ve zdravotnictví, nevidomý a slabozraký masér ve zdravotnictví</c:v>
                </c:pt>
                <c:pt idx="16">
                  <c:v>§ 15 Nutriční terapeut</c:v>
                </c:pt>
                <c:pt idx="17">
                  <c:v>§ 23 Logoped ve zdravotnictví</c:v>
                </c:pt>
                <c:pt idx="18">
                  <c:v>§ 7 Ergoterapeut</c:v>
                </c:pt>
                <c:pt idx="19">
                  <c:v>§ 11 Optometrista</c:v>
                </c:pt>
                <c:pt idx="20">
                  <c:v>§ 10 Zdravotně-sociální pracovník</c:v>
                </c:pt>
                <c:pt idx="21">
                  <c:v>§ 30 Laboratorní asistent</c:v>
                </c:pt>
                <c:pt idx="22">
                  <c:v>§ 27 Biomedicínský inženýr</c:v>
                </c:pt>
                <c:pt idx="23">
                  <c:v>§ 33 Asistent zubního technika</c:v>
                </c:pt>
                <c:pt idx="24">
                  <c:v>§ 21a Adiktolog</c:v>
                </c:pt>
                <c:pt idx="25">
                  <c:v>§ 28 Odborný pracovník v ochraně a podpoře veřejného zdraví</c:v>
                </c:pt>
                <c:pt idx="26">
                  <c:v>§ 25 Radiologický fyzik</c:v>
                </c:pt>
                <c:pt idx="27">
                  <c:v>§ 13 Asistent ochrany a podpory veřejného zdraví</c:v>
                </c:pt>
                <c:pt idx="28">
                  <c:v>§ 14 Ortotik-protetik</c:v>
                </c:pt>
                <c:pt idx="29">
                  <c:v>§ 20 Biomedicínský technik</c:v>
                </c:pt>
                <c:pt idx="30">
                  <c:v>§ 12 Ortoptista</c:v>
                </c:pt>
                <c:pt idx="31">
                  <c:v>§ 32 Nutriční asistent</c:v>
                </c:pt>
                <c:pt idx="32">
                  <c:v>§ 41 Autoptický laborant</c:v>
                </c:pt>
                <c:pt idx="33">
                  <c:v>§ 21 Radiologický technik</c:v>
                </c:pt>
                <c:pt idx="34">
                  <c:v>§ 23a Zrakový terapeut</c:v>
                </c:pt>
                <c:pt idx="35">
                  <c:v>§ 31 Ortoticko-protetický technik</c:v>
                </c:pt>
              </c:strCache>
            </c:strRef>
          </c:cat>
          <c:val>
            <c:numRef>
              <c:f>List1!$B$2:$B$37</c:f>
              <c:numCache>
                <c:formatCode>General</c:formatCode>
                <c:ptCount val="36"/>
                <c:pt idx="0">
                  <c:v>1230</c:v>
                </c:pt>
                <c:pt idx="1">
                  <c:v>695</c:v>
                </c:pt>
                <c:pt idx="2">
                  <c:v>596</c:v>
                </c:pt>
                <c:pt idx="3">
                  <c:v>541</c:v>
                </c:pt>
                <c:pt idx="4">
                  <c:v>454</c:v>
                </c:pt>
                <c:pt idx="5">
                  <c:v>281</c:v>
                </c:pt>
                <c:pt idx="6">
                  <c:v>257</c:v>
                </c:pt>
                <c:pt idx="7">
                  <c:v>241</c:v>
                </c:pt>
                <c:pt idx="8">
                  <c:v>227</c:v>
                </c:pt>
                <c:pt idx="9">
                  <c:v>188</c:v>
                </c:pt>
                <c:pt idx="10">
                  <c:v>176</c:v>
                </c:pt>
                <c:pt idx="11">
                  <c:v>126</c:v>
                </c:pt>
                <c:pt idx="12">
                  <c:v>98</c:v>
                </c:pt>
                <c:pt idx="13">
                  <c:v>92</c:v>
                </c:pt>
                <c:pt idx="14">
                  <c:v>86</c:v>
                </c:pt>
                <c:pt idx="15">
                  <c:v>80</c:v>
                </c:pt>
                <c:pt idx="16">
                  <c:v>70</c:v>
                </c:pt>
                <c:pt idx="17">
                  <c:v>66</c:v>
                </c:pt>
                <c:pt idx="18">
                  <c:v>59</c:v>
                </c:pt>
                <c:pt idx="19">
                  <c:v>59</c:v>
                </c:pt>
                <c:pt idx="20">
                  <c:v>48</c:v>
                </c:pt>
                <c:pt idx="21">
                  <c:v>42</c:v>
                </c:pt>
                <c:pt idx="22">
                  <c:v>28</c:v>
                </c:pt>
                <c:pt idx="23">
                  <c:v>19</c:v>
                </c:pt>
                <c:pt idx="24">
                  <c:v>16</c:v>
                </c:pt>
                <c:pt idx="25">
                  <c:v>13</c:v>
                </c:pt>
                <c:pt idx="26">
                  <c:v>12</c:v>
                </c:pt>
                <c:pt idx="27">
                  <c:v>9</c:v>
                </c:pt>
                <c:pt idx="28">
                  <c:v>6</c:v>
                </c:pt>
                <c:pt idx="29">
                  <c:v>6</c:v>
                </c:pt>
                <c:pt idx="30">
                  <c:v>5</c:v>
                </c:pt>
                <c:pt idx="31">
                  <c:v>3</c:v>
                </c:pt>
                <c:pt idx="32">
                  <c:v>3</c:v>
                </c:pt>
                <c:pt idx="33">
                  <c:v>1</c:v>
                </c:pt>
                <c:pt idx="34">
                  <c:v>1</c:v>
                </c:pt>
                <c:pt idx="35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EDC-4FEF-9A9E-83836E26FF1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320460415"/>
        <c:axId val="315793487"/>
      </c:barChart>
      <c:catAx>
        <c:axId val="320460415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15793487"/>
        <c:crosses val="autoZero"/>
        <c:auto val="1"/>
        <c:lblAlgn val="ctr"/>
        <c:lblOffset val="100"/>
        <c:tickLblSkip val="1"/>
        <c:noMultiLvlLbl val="0"/>
      </c:catAx>
      <c:valAx>
        <c:axId val="315793487"/>
        <c:scaling>
          <c:orientation val="minMax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204604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2895491925027349E-2"/>
          <c:y val="2.8733097084892491E-2"/>
          <c:w val="0.69322079746689458"/>
          <c:h val="0.83918438300516462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Lékaři</c:v>
                </c:pt>
              </c:strCache>
            </c:strRef>
          </c:tx>
          <c:spPr>
            <a:ln w="6350" cap="rnd">
              <a:solidFill>
                <a:srgbClr val="4472C4"/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-1.3019527064393282E-16"/>
                  <c:y val="9.3251132826876887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rgbClr val="4472C4"/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601304996662368"/>
                      <c:h val="4.114706235985942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4-CC25-463F-AAD4-4AD72ABB962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trendline>
            <c:spPr>
              <a:ln w="25400" cap="rnd">
                <a:solidFill>
                  <a:srgbClr val="4472C4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strRef>
              <c:f>List1!$B$1:$GB$1</c:f>
              <c:strCache>
                <c:ptCount val="183"/>
                <c:pt idx="0">
                  <c:v>26.06.21</c:v>
                </c:pt>
                <c:pt idx="1">
                  <c:v>27.06.21</c:v>
                </c:pt>
                <c:pt idx="2">
                  <c:v>28.06.21</c:v>
                </c:pt>
                <c:pt idx="3">
                  <c:v>29.06.21</c:v>
                </c:pt>
                <c:pt idx="4">
                  <c:v>30.06.21</c:v>
                </c:pt>
                <c:pt idx="5">
                  <c:v>01.07.21</c:v>
                </c:pt>
                <c:pt idx="6">
                  <c:v>02.07.21</c:v>
                </c:pt>
                <c:pt idx="7">
                  <c:v>03.07.21</c:v>
                </c:pt>
                <c:pt idx="8">
                  <c:v>04.07.21</c:v>
                </c:pt>
                <c:pt idx="9">
                  <c:v>05.07.21</c:v>
                </c:pt>
                <c:pt idx="10">
                  <c:v>06.07.21</c:v>
                </c:pt>
                <c:pt idx="11">
                  <c:v>07.07.21</c:v>
                </c:pt>
                <c:pt idx="12">
                  <c:v>08.07.21</c:v>
                </c:pt>
                <c:pt idx="13">
                  <c:v>09.07.21</c:v>
                </c:pt>
                <c:pt idx="14">
                  <c:v>10.07.21</c:v>
                </c:pt>
                <c:pt idx="15">
                  <c:v>11.07.21</c:v>
                </c:pt>
                <c:pt idx="16">
                  <c:v>12.07.21</c:v>
                </c:pt>
                <c:pt idx="17">
                  <c:v>13.07.21</c:v>
                </c:pt>
                <c:pt idx="18">
                  <c:v>14.07.21</c:v>
                </c:pt>
                <c:pt idx="19">
                  <c:v>15.07.21</c:v>
                </c:pt>
                <c:pt idx="20">
                  <c:v>16.07.21</c:v>
                </c:pt>
                <c:pt idx="21">
                  <c:v>17.07.21</c:v>
                </c:pt>
                <c:pt idx="22">
                  <c:v>18.07.21</c:v>
                </c:pt>
                <c:pt idx="23">
                  <c:v>19.07.21</c:v>
                </c:pt>
                <c:pt idx="24">
                  <c:v>20.07.21</c:v>
                </c:pt>
                <c:pt idx="25">
                  <c:v>21.07.21</c:v>
                </c:pt>
                <c:pt idx="26">
                  <c:v>22.07.21</c:v>
                </c:pt>
                <c:pt idx="27">
                  <c:v>23.07.21</c:v>
                </c:pt>
                <c:pt idx="28">
                  <c:v>24.07.21</c:v>
                </c:pt>
                <c:pt idx="29">
                  <c:v>25.07.21</c:v>
                </c:pt>
                <c:pt idx="30">
                  <c:v>26.07.21</c:v>
                </c:pt>
                <c:pt idx="31">
                  <c:v>27.07.21</c:v>
                </c:pt>
                <c:pt idx="32">
                  <c:v>28.07.21</c:v>
                </c:pt>
                <c:pt idx="33">
                  <c:v>29.07.21</c:v>
                </c:pt>
                <c:pt idx="34">
                  <c:v>30.07.21</c:v>
                </c:pt>
                <c:pt idx="35">
                  <c:v>31.07.21</c:v>
                </c:pt>
                <c:pt idx="36">
                  <c:v>01.08.21</c:v>
                </c:pt>
                <c:pt idx="37">
                  <c:v>02.08.21</c:v>
                </c:pt>
                <c:pt idx="38">
                  <c:v>03.08.21</c:v>
                </c:pt>
                <c:pt idx="39">
                  <c:v>04.08.21</c:v>
                </c:pt>
                <c:pt idx="40">
                  <c:v>05.08.21</c:v>
                </c:pt>
                <c:pt idx="41">
                  <c:v>06.08.21</c:v>
                </c:pt>
                <c:pt idx="42">
                  <c:v>07.08.21</c:v>
                </c:pt>
                <c:pt idx="43">
                  <c:v>08.08.21</c:v>
                </c:pt>
                <c:pt idx="44">
                  <c:v>09.08.21</c:v>
                </c:pt>
                <c:pt idx="45">
                  <c:v>10.08.21</c:v>
                </c:pt>
                <c:pt idx="46">
                  <c:v>11.08.21</c:v>
                </c:pt>
                <c:pt idx="47">
                  <c:v>12.08.21</c:v>
                </c:pt>
                <c:pt idx="48">
                  <c:v>13.08.21</c:v>
                </c:pt>
                <c:pt idx="49">
                  <c:v>14.08.21</c:v>
                </c:pt>
                <c:pt idx="50">
                  <c:v>15.08.21</c:v>
                </c:pt>
                <c:pt idx="51">
                  <c:v>16.08.21</c:v>
                </c:pt>
                <c:pt idx="52">
                  <c:v>17.08.21</c:v>
                </c:pt>
                <c:pt idx="53">
                  <c:v>18.08.21</c:v>
                </c:pt>
                <c:pt idx="54">
                  <c:v>19.08.21</c:v>
                </c:pt>
                <c:pt idx="55">
                  <c:v>20.08.21</c:v>
                </c:pt>
                <c:pt idx="56">
                  <c:v>21.08.21</c:v>
                </c:pt>
                <c:pt idx="57">
                  <c:v>22.08.21</c:v>
                </c:pt>
                <c:pt idx="58">
                  <c:v>23.08.21</c:v>
                </c:pt>
                <c:pt idx="59">
                  <c:v>24.08.21</c:v>
                </c:pt>
                <c:pt idx="60">
                  <c:v>25.08.21</c:v>
                </c:pt>
                <c:pt idx="61">
                  <c:v>26.08.21</c:v>
                </c:pt>
                <c:pt idx="62">
                  <c:v>27.08.21</c:v>
                </c:pt>
                <c:pt idx="63">
                  <c:v>28.08.21</c:v>
                </c:pt>
                <c:pt idx="64">
                  <c:v>29.08.21</c:v>
                </c:pt>
                <c:pt idx="65">
                  <c:v>30.08.21</c:v>
                </c:pt>
                <c:pt idx="66">
                  <c:v>31.08.21</c:v>
                </c:pt>
                <c:pt idx="67">
                  <c:v>01.09.21</c:v>
                </c:pt>
                <c:pt idx="68">
                  <c:v>02.09.21</c:v>
                </c:pt>
                <c:pt idx="69">
                  <c:v>03.09.21</c:v>
                </c:pt>
                <c:pt idx="70">
                  <c:v>04.09.21</c:v>
                </c:pt>
                <c:pt idx="71">
                  <c:v>05.09.21</c:v>
                </c:pt>
                <c:pt idx="72">
                  <c:v>06.09.21</c:v>
                </c:pt>
                <c:pt idx="73">
                  <c:v>07.09.21</c:v>
                </c:pt>
                <c:pt idx="74">
                  <c:v>08.09.21</c:v>
                </c:pt>
                <c:pt idx="75">
                  <c:v>09.09.21</c:v>
                </c:pt>
                <c:pt idx="76">
                  <c:v>10.09.21</c:v>
                </c:pt>
                <c:pt idx="77">
                  <c:v>11.09.21</c:v>
                </c:pt>
                <c:pt idx="78">
                  <c:v>12.09.21</c:v>
                </c:pt>
                <c:pt idx="79">
                  <c:v>13.09.21</c:v>
                </c:pt>
                <c:pt idx="80">
                  <c:v>14.09.21</c:v>
                </c:pt>
                <c:pt idx="81">
                  <c:v>15.09.21</c:v>
                </c:pt>
                <c:pt idx="82">
                  <c:v>16.09.21</c:v>
                </c:pt>
                <c:pt idx="83">
                  <c:v>17.09.21</c:v>
                </c:pt>
                <c:pt idx="84">
                  <c:v>18.09.21</c:v>
                </c:pt>
                <c:pt idx="85">
                  <c:v>19.09.21</c:v>
                </c:pt>
                <c:pt idx="86">
                  <c:v>20.09.21</c:v>
                </c:pt>
                <c:pt idx="87">
                  <c:v>21.09.21</c:v>
                </c:pt>
                <c:pt idx="88">
                  <c:v>22.09.21</c:v>
                </c:pt>
                <c:pt idx="89">
                  <c:v>23.09.21</c:v>
                </c:pt>
                <c:pt idx="90">
                  <c:v>24.09.21</c:v>
                </c:pt>
                <c:pt idx="91">
                  <c:v>25.09.21</c:v>
                </c:pt>
                <c:pt idx="92">
                  <c:v>26.09.21</c:v>
                </c:pt>
                <c:pt idx="93">
                  <c:v>27.09.21</c:v>
                </c:pt>
                <c:pt idx="94">
                  <c:v>28.09.21</c:v>
                </c:pt>
                <c:pt idx="95">
                  <c:v>29.09.21</c:v>
                </c:pt>
                <c:pt idx="96">
                  <c:v>30.09.21</c:v>
                </c:pt>
                <c:pt idx="97">
                  <c:v>01.10.21</c:v>
                </c:pt>
                <c:pt idx="98">
                  <c:v>02.10.21</c:v>
                </c:pt>
                <c:pt idx="99">
                  <c:v>03.10.21</c:v>
                </c:pt>
                <c:pt idx="100">
                  <c:v>04.10.21</c:v>
                </c:pt>
                <c:pt idx="101">
                  <c:v>05.10.21</c:v>
                </c:pt>
                <c:pt idx="102">
                  <c:v>06.10.21</c:v>
                </c:pt>
                <c:pt idx="103">
                  <c:v>07.10.21</c:v>
                </c:pt>
                <c:pt idx="104">
                  <c:v>08.10.21</c:v>
                </c:pt>
                <c:pt idx="105">
                  <c:v>09.10.21</c:v>
                </c:pt>
                <c:pt idx="106">
                  <c:v>10.10.21</c:v>
                </c:pt>
                <c:pt idx="107">
                  <c:v>11.10.21</c:v>
                </c:pt>
                <c:pt idx="108">
                  <c:v>12.10.21</c:v>
                </c:pt>
                <c:pt idx="109">
                  <c:v>13.10.21</c:v>
                </c:pt>
                <c:pt idx="110">
                  <c:v>14.10.21</c:v>
                </c:pt>
                <c:pt idx="111">
                  <c:v>15.10.21</c:v>
                </c:pt>
                <c:pt idx="112">
                  <c:v>16.10.21</c:v>
                </c:pt>
                <c:pt idx="113">
                  <c:v>17.10.21</c:v>
                </c:pt>
                <c:pt idx="114">
                  <c:v>18.10.21</c:v>
                </c:pt>
                <c:pt idx="115">
                  <c:v>19.10.21</c:v>
                </c:pt>
                <c:pt idx="116">
                  <c:v>20.10.21</c:v>
                </c:pt>
                <c:pt idx="117">
                  <c:v>21.10.21</c:v>
                </c:pt>
                <c:pt idx="118">
                  <c:v>22.10.21</c:v>
                </c:pt>
                <c:pt idx="119">
                  <c:v>23.10.21</c:v>
                </c:pt>
                <c:pt idx="120">
                  <c:v>24.10.21</c:v>
                </c:pt>
                <c:pt idx="121">
                  <c:v>25.10.21</c:v>
                </c:pt>
                <c:pt idx="122">
                  <c:v>26.10.21</c:v>
                </c:pt>
                <c:pt idx="123">
                  <c:v>27.10.21</c:v>
                </c:pt>
                <c:pt idx="124">
                  <c:v>28.10.21</c:v>
                </c:pt>
                <c:pt idx="125">
                  <c:v>29.10.21</c:v>
                </c:pt>
                <c:pt idx="126">
                  <c:v>30.10.21</c:v>
                </c:pt>
                <c:pt idx="127">
                  <c:v>31.10.21</c:v>
                </c:pt>
                <c:pt idx="128">
                  <c:v>01.11.21</c:v>
                </c:pt>
                <c:pt idx="129">
                  <c:v>02.11.21</c:v>
                </c:pt>
                <c:pt idx="130">
                  <c:v>03.11.21</c:v>
                </c:pt>
                <c:pt idx="131">
                  <c:v>04.11.21</c:v>
                </c:pt>
                <c:pt idx="132">
                  <c:v>05.11.21</c:v>
                </c:pt>
                <c:pt idx="133">
                  <c:v>06.11.21</c:v>
                </c:pt>
                <c:pt idx="134">
                  <c:v>07.11.21</c:v>
                </c:pt>
                <c:pt idx="135">
                  <c:v>08.11.21</c:v>
                </c:pt>
                <c:pt idx="136">
                  <c:v>09.11.21</c:v>
                </c:pt>
                <c:pt idx="137">
                  <c:v>10.11.21</c:v>
                </c:pt>
                <c:pt idx="138">
                  <c:v>11.11.21</c:v>
                </c:pt>
                <c:pt idx="139">
                  <c:v>12.11.21</c:v>
                </c:pt>
                <c:pt idx="140">
                  <c:v>13.11.21</c:v>
                </c:pt>
                <c:pt idx="141">
                  <c:v>14.11.21</c:v>
                </c:pt>
                <c:pt idx="142">
                  <c:v>15.11.21</c:v>
                </c:pt>
                <c:pt idx="143">
                  <c:v>16.11.21</c:v>
                </c:pt>
                <c:pt idx="144">
                  <c:v>17.11.21</c:v>
                </c:pt>
                <c:pt idx="145">
                  <c:v>18.11.21</c:v>
                </c:pt>
                <c:pt idx="146">
                  <c:v>19.11.21</c:v>
                </c:pt>
                <c:pt idx="147">
                  <c:v>20.11.21</c:v>
                </c:pt>
                <c:pt idx="148">
                  <c:v>21.11.21</c:v>
                </c:pt>
                <c:pt idx="149">
                  <c:v>22.11.21</c:v>
                </c:pt>
                <c:pt idx="150">
                  <c:v>23.11.21</c:v>
                </c:pt>
                <c:pt idx="151">
                  <c:v>24.11.21</c:v>
                </c:pt>
                <c:pt idx="152">
                  <c:v>25.11.21</c:v>
                </c:pt>
                <c:pt idx="153">
                  <c:v>26.11.21</c:v>
                </c:pt>
                <c:pt idx="154">
                  <c:v>27.11.21</c:v>
                </c:pt>
                <c:pt idx="155">
                  <c:v>28.11.21</c:v>
                </c:pt>
                <c:pt idx="156">
                  <c:v>29.11.21</c:v>
                </c:pt>
                <c:pt idx="157">
                  <c:v>30.11.21</c:v>
                </c:pt>
                <c:pt idx="158">
                  <c:v>01.12.21</c:v>
                </c:pt>
                <c:pt idx="159">
                  <c:v>02.12.21</c:v>
                </c:pt>
                <c:pt idx="160">
                  <c:v>03.12.21</c:v>
                </c:pt>
                <c:pt idx="161">
                  <c:v>04.12.21</c:v>
                </c:pt>
                <c:pt idx="162">
                  <c:v>05.12.21</c:v>
                </c:pt>
                <c:pt idx="163">
                  <c:v>06.12.21</c:v>
                </c:pt>
                <c:pt idx="164">
                  <c:v>07.12.21</c:v>
                </c:pt>
                <c:pt idx="165">
                  <c:v>08.12.21</c:v>
                </c:pt>
                <c:pt idx="166">
                  <c:v>09.12.21</c:v>
                </c:pt>
                <c:pt idx="167">
                  <c:v>10.12.21</c:v>
                </c:pt>
                <c:pt idx="168">
                  <c:v>11.12.21</c:v>
                </c:pt>
                <c:pt idx="169">
                  <c:v>12.12.21</c:v>
                </c:pt>
                <c:pt idx="170">
                  <c:v>13.12.21</c:v>
                </c:pt>
                <c:pt idx="171">
                  <c:v>14.12.21</c:v>
                </c:pt>
                <c:pt idx="172">
                  <c:v>15.12.21</c:v>
                </c:pt>
                <c:pt idx="173">
                  <c:v>16.12.21</c:v>
                </c:pt>
                <c:pt idx="174">
                  <c:v>17.12.21</c:v>
                </c:pt>
                <c:pt idx="175">
                  <c:v>18.12.21</c:v>
                </c:pt>
                <c:pt idx="176">
                  <c:v>19.12.21</c:v>
                </c:pt>
                <c:pt idx="177">
                  <c:v>20.12.21</c:v>
                </c:pt>
                <c:pt idx="178">
                  <c:v>21.12.21</c:v>
                </c:pt>
                <c:pt idx="179">
                  <c:v>22.12.21</c:v>
                </c:pt>
                <c:pt idx="180">
                  <c:v>23.12.21</c:v>
                </c:pt>
                <c:pt idx="181">
                  <c:v>24.12.21</c:v>
                </c:pt>
                <c:pt idx="182">
                  <c:v>25.12.21</c:v>
                </c:pt>
              </c:strCache>
            </c:strRef>
          </c:cat>
          <c:val>
            <c:numRef>
              <c:f>List1!$B$2:$GB$2</c:f>
              <c:numCache>
                <c:formatCode>General</c:formatCode>
                <c:ptCount val="18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1</c:v>
                </c:pt>
                <c:pt idx="6">
                  <c:v>0</c:v>
                </c:pt>
                <c:pt idx="7">
                  <c:v>0</c:v>
                </c:pt>
                <c:pt idx="8">
                  <c:v>1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2</c:v>
                </c:pt>
                <c:pt idx="14">
                  <c:v>0</c:v>
                </c:pt>
                <c:pt idx="15">
                  <c:v>0</c:v>
                </c:pt>
                <c:pt idx="16">
                  <c:v>2</c:v>
                </c:pt>
                <c:pt idx="17">
                  <c:v>1</c:v>
                </c:pt>
                <c:pt idx="18">
                  <c:v>0</c:v>
                </c:pt>
                <c:pt idx="19">
                  <c:v>0</c:v>
                </c:pt>
                <c:pt idx="20">
                  <c:v>3</c:v>
                </c:pt>
                <c:pt idx="21">
                  <c:v>2</c:v>
                </c:pt>
                <c:pt idx="22">
                  <c:v>1</c:v>
                </c:pt>
                <c:pt idx="23">
                  <c:v>2</c:v>
                </c:pt>
                <c:pt idx="24">
                  <c:v>2</c:v>
                </c:pt>
                <c:pt idx="25">
                  <c:v>2</c:v>
                </c:pt>
                <c:pt idx="26">
                  <c:v>4</c:v>
                </c:pt>
                <c:pt idx="27">
                  <c:v>0</c:v>
                </c:pt>
                <c:pt idx="28">
                  <c:v>0</c:v>
                </c:pt>
                <c:pt idx="29">
                  <c:v>1</c:v>
                </c:pt>
                <c:pt idx="30">
                  <c:v>3</c:v>
                </c:pt>
                <c:pt idx="31">
                  <c:v>1</c:v>
                </c:pt>
                <c:pt idx="32">
                  <c:v>1</c:v>
                </c:pt>
                <c:pt idx="33">
                  <c:v>2</c:v>
                </c:pt>
                <c:pt idx="34">
                  <c:v>2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6</c:v>
                </c:pt>
                <c:pt idx="40">
                  <c:v>1</c:v>
                </c:pt>
                <c:pt idx="41">
                  <c:v>2</c:v>
                </c:pt>
                <c:pt idx="42">
                  <c:v>0</c:v>
                </c:pt>
                <c:pt idx="43">
                  <c:v>2</c:v>
                </c:pt>
                <c:pt idx="44">
                  <c:v>2</c:v>
                </c:pt>
                <c:pt idx="45">
                  <c:v>0</c:v>
                </c:pt>
                <c:pt idx="46">
                  <c:v>3</c:v>
                </c:pt>
                <c:pt idx="47">
                  <c:v>1</c:v>
                </c:pt>
                <c:pt idx="48">
                  <c:v>1</c:v>
                </c:pt>
                <c:pt idx="49">
                  <c:v>0</c:v>
                </c:pt>
                <c:pt idx="50">
                  <c:v>0</c:v>
                </c:pt>
                <c:pt idx="51">
                  <c:v>3</c:v>
                </c:pt>
                <c:pt idx="52">
                  <c:v>0</c:v>
                </c:pt>
                <c:pt idx="53">
                  <c:v>0</c:v>
                </c:pt>
                <c:pt idx="54">
                  <c:v>1</c:v>
                </c:pt>
                <c:pt idx="55">
                  <c:v>1</c:v>
                </c:pt>
                <c:pt idx="56">
                  <c:v>0</c:v>
                </c:pt>
                <c:pt idx="57">
                  <c:v>0</c:v>
                </c:pt>
                <c:pt idx="58">
                  <c:v>2</c:v>
                </c:pt>
                <c:pt idx="59">
                  <c:v>0</c:v>
                </c:pt>
                <c:pt idx="60">
                  <c:v>1</c:v>
                </c:pt>
                <c:pt idx="61">
                  <c:v>1</c:v>
                </c:pt>
                <c:pt idx="62">
                  <c:v>1</c:v>
                </c:pt>
                <c:pt idx="63">
                  <c:v>1</c:v>
                </c:pt>
                <c:pt idx="64">
                  <c:v>0</c:v>
                </c:pt>
                <c:pt idx="65">
                  <c:v>0</c:v>
                </c:pt>
                <c:pt idx="66">
                  <c:v>4</c:v>
                </c:pt>
                <c:pt idx="67">
                  <c:v>4</c:v>
                </c:pt>
                <c:pt idx="68">
                  <c:v>1</c:v>
                </c:pt>
                <c:pt idx="69">
                  <c:v>1</c:v>
                </c:pt>
                <c:pt idx="70">
                  <c:v>3</c:v>
                </c:pt>
                <c:pt idx="71">
                  <c:v>1</c:v>
                </c:pt>
                <c:pt idx="72">
                  <c:v>0</c:v>
                </c:pt>
                <c:pt idx="73">
                  <c:v>2</c:v>
                </c:pt>
                <c:pt idx="74">
                  <c:v>0</c:v>
                </c:pt>
                <c:pt idx="75">
                  <c:v>0</c:v>
                </c:pt>
                <c:pt idx="76">
                  <c:v>3</c:v>
                </c:pt>
                <c:pt idx="77">
                  <c:v>3</c:v>
                </c:pt>
                <c:pt idx="78">
                  <c:v>0</c:v>
                </c:pt>
                <c:pt idx="79">
                  <c:v>4</c:v>
                </c:pt>
                <c:pt idx="80">
                  <c:v>2</c:v>
                </c:pt>
                <c:pt idx="81">
                  <c:v>0</c:v>
                </c:pt>
                <c:pt idx="82">
                  <c:v>1</c:v>
                </c:pt>
                <c:pt idx="83">
                  <c:v>2</c:v>
                </c:pt>
                <c:pt idx="84">
                  <c:v>1</c:v>
                </c:pt>
                <c:pt idx="85">
                  <c:v>1</c:v>
                </c:pt>
                <c:pt idx="86">
                  <c:v>0</c:v>
                </c:pt>
                <c:pt idx="87">
                  <c:v>3</c:v>
                </c:pt>
                <c:pt idx="88">
                  <c:v>3</c:v>
                </c:pt>
                <c:pt idx="89">
                  <c:v>2</c:v>
                </c:pt>
                <c:pt idx="90">
                  <c:v>3</c:v>
                </c:pt>
                <c:pt idx="91">
                  <c:v>0</c:v>
                </c:pt>
                <c:pt idx="92">
                  <c:v>2</c:v>
                </c:pt>
                <c:pt idx="93">
                  <c:v>6</c:v>
                </c:pt>
                <c:pt idx="94">
                  <c:v>4</c:v>
                </c:pt>
                <c:pt idx="95">
                  <c:v>3</c:v>
                </c:pt>
                <c:pt idx="96">
                  <c:v>9</c:v>
                </c:pt>
                <c:pt idx="97">
                  <c:v>2</c:v>
                </c:pt>
                <c:pt idx="98">
                  <c:v>5</c:v>
                </c:pt>
                <c:pt idx="99">
                  <c:v>1</c:v>
                </c:pt>
                <c:pt idx="100">
                  <c:v>0</c:v>
                </c:pt>
                <c:pt idx="101">
                  <c:v>2</c:v>
                </c:pt>
                <c:pt idx="102">
                  <c:v>5</c:v>
                </c:pt>
                <c:pt idx="103">
                  <c:v>6</c:v>
                </c:pt>
                <c:pt idx="104">
                  <c:v>6</c:v>
                </c:pt>
                <c:pt idx="105">
                  <c:v>1</c:v>
                </c:pt>
                <c:pt idx="106">
                  <c:v>1</c:v>
                </c:pt>
                <c:pt idx="107">
                  <c:v>3</c:v>
                </c:pt>
                <c:pt idx="108">
                  <c:v>10</c:v>
                </c:pt>
                <c:pt idx="109">
                  <c:v>7</c:v>
                </c:pt>
                <c:pt idx="110">
                  <c:v>7</c:v>
                </c:pt>
                <c:pt idx="111">
                  <c:v>6</c:v>
                </c:pt>
                <c:pt idx="112">
                  <c:v>5</c:v>
                </c:pt>
                <c:pt idx="113">
                  <c:v>8</c:v>
                </c:pt>
                <c:pt idx="114">
                  <c:v>17</c:v>
                </c:pt>
                <c:pt idx="115">
                  <c:v>16</c:v>
                </c:pt>
                <c:pt idx="116">
                  <c:v>13</c:v>
                </c:pt>
                <c:pt idx="117">
                  <c:v>13</c:v>
                </c:pt>
                <c:pt idx="118">
                  <c:v>16</c:v>
                </c:pt>
                <c:pt idx="119">
                  <c:v>13</c:v>
                </c:pt>
                <c:pt idx="120">
                  <c:v>12</c:v>
                </c:pt>
                <c:pt idx="121">
                  <c:v>29</c:v>
                </c:pt>
                <c:pt idx="122">
                  <c:v>20</c:v>
                </c:pt>
                <c:pt idx="123">
                  <c:v>23</c:v>
                </c:pt>
                <c:pt idx="124">
                  <c:v>22</c:v>
                </c:pt>
                <c:pt idx="125">
                  <c:v>36</c:v>
                </c:pt>
                <c:pt idx="126">
                  <c:v>21</c:v>
                </c:pt>
                <c:pt idx="127">
                  <c:v>18</c:v>
                </c:pt>
                <c:pt idx="128">
                  <c:v>55</c:v>
                </c:pt>
                <c:pt idx="129">
                  <c:v>38</c:v>
                </c:pt>
                <c:pt idx="130">
                  <c:v>38</c:v>
                </c:pt>
                <c:pt idx="131">
                  <c:v>27</c:v>
                </c:pt>
                <c:pt idx="132">
                  <c:v>40</c:v>
                </c:pt>
                <c:pt idx="133">
                  <c:v>20</c:v>
                </c:pt>
                <c:pt idx="134">
                  <c:v>18</c:v>
                </c:pt>
                <c:pt idx="135">
                  <c:v>52</c:v>
                </c:pt>
                <c:pt idx="136">
                  <c:v>46</c:v>
                </c:pt>
                <c:pt idx="137">
                  <c:v>48</c:v>
                </c:pt>
                <c:pt idx="138">
                  <c:v>50</c:v>
                </c:pt>
                <c:pt idx="139">
                  <c:v>42</c:v>
                </c:pt>
                <c:pt idx="140">
                  <c:v>49</c:v>
                </c:pt>
                <c:pt idx="141">
                  <c:v>22</c:v>
                </c:pt>
                <c:pt idx="142">
                  <c:v>62</c:v>
                </c:pt>
                <c:pt idx="143">
                  <c:v>57</c:v>
                </c:pt>
                <c:pt idx="144">
                  <c:v>44</c:v>
                </c:pt>
                <c:pt idx="145">
                  <c:v>53</c:v>
                </c:pt>
                <c:pt idx="146">
                  <c:v>78</c:v>
                </c:pt>
                <c:pt idx="147">
                  <c:v>45</c:v>
                </c:pt>
                <c:pt idx="148">
                  <c:v>31</c:v>
                </c:pt>
                <c:pt idx="149">
                  <c:v>60</c:v>
                </c:pt>
                <c:pt idx="150">
                  <c:v>71</c:v>
                </c:pt>
                <c:pt idx="151">
                  <c:v>41</c:v>
                </c:pt>
                <c:pt idx="152">
                  <c:v>65</c:v>
                </c:pt>
                <c:pt idx="153">
                  <c:v>54</c:v>
                </c:pt>
                <c:pt idx="154">
                  <c:v>33</c:v>
                </c:pt>
                <c:pt idx="155">
                  <c:v>40</c:v>
                </c:pt>
                <c:pt idx="156">
                  <c:v>57</c:v>
                </c:pt>
                <c:pt idx="157">
                  <c:v>46</c:v>
                </c:pt>
                <c:pt idx="158">
                  <c:v>54</c:v>
                </c:pt>
                <c:pt idx="159">
                  <c:v>39</c:v>
                </c:pt>
                <c:pt idx="160">
                  <c:v>50</c:v>
                </c:pt>
                <c:pt idx="161">
                  <c:v>24</c:v>
                </c:pt>
                <c:pt idx="162">
                  <c:v>15</c:v>
                </c:pt>
                <c:pt idx="163">
                  <c:v>45</c:v>
                </c:pt>
                <c:pt idx="164">
                  <c:v>40</c:v>
                </c:pt>
                <c:pt idx="165">
                  <c:v>29</c:v>
                </c:pt>
                <c:pt idx="166">
                  <c:v>30</c:v>
                </c:pt>
                <c:pt idx="167">
                  <c:v>33</c:v>
                </c:pt>
                <c:pt idx="168">
                  <c:v>19</c:v>
                </c:pt>
                <c:pt idx="169">
                  <c:v>11</c:v>
                </c:pt>
                <c:pt idx="170">
                  <c:v>29</c:v>
                </c:pt>
                <c:pt idx="171">
                  <c:v>25</c:v>
                </c:pt>
                <c:pt idx="172">
                  <c:v>23</c:v>
                </c:pt>
                <c:pt idx="173">
                  <c:v>16</c:v>
                </c:pt>
                <c:pt idx="174">
                  <c:v>22</c:v>
                </c:pt>
                <c:pt idx="175">
                  <c:v>20</c:v>
                </c:pt>
                <c:pt idx="176">
                  <c:v>14</c:v>
                </c:pt>
                <c:pt idx="177">
                  <c:v>27</c:v>
                </c:pt>
                <c:pt idx="178">
                  <c:v>26</c:v>
                </c:pt>
                <c:pt idx="179">
                  <c:v>19</c:v>
                </c:pt>
                <c:pt idx="180">
                  <c:v>20</c:v>
                </c:pt>
                <c:pt idx="181">
                  <c:v>3</c:v>
                </c:pt>
                <c:pt idx="182">
                  <c:v>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8FD-43E4-BA1D-0B494D841FF9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Sesterská povolání</c:v>
                </c:pt>
              </c:strCache>
            </c:strRef>
          </c:tx>
          <c:spPr>
            <a:ln w="6350" cap="rnd">
              <a:solidFill>
                <a:srgbClr val="ED7D31"/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6.9898053688695042E-8"/>
                  <c:y val="-8.6257206082249988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rgbClr val="ED7D31"/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2244118952507763"/>
                      <c:h val="7.5300289757703073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CC25-463F-AAD4-4AD72ABB962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algn="l">
                  <a:defRPr sz="1200" b="0" i="0" u="none" strike="noStrike" kern="1200" baseline="0">
                    <a:solidFill>
                      <a:schemeClr val="tx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trendline>
            <c:spPr>
              <a:ln w="25400" cap="rnd">
                <a:solidFill>
                  <a:srgbClr val="ED7D3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strRef>
              <c:f>List1!$B$1:$GB$1</c:f>
              <c:strCache>
                <c:ptCount val="183"/>
                <c:pt idx="0">
                  <c:v>26.06.21</c:v>
                </c:pt>
                <c:pt idx="1">
                  <c:v>27.06.21</c:v>
                </c:pt>
                <c:pt idx="2">
                  <c:v>28.06.21</c:v>
                </c:pt>
                <c:pt idx="3">
                  <c:v>29.06.21</c:v>
                </c:pt>
                <c:pt idx="4">
                  <c:v>30.06.21</c:v>
                </c:pt>
                <c:pt idx="5">
                  <c:v>01.07.21</c:v>
                </c:pt>
                <c:pt idx="6">
                  <c:v>02.07.21</c:v>
                </c:pt>
                <c:pt idx="7">
                  <c:v>03.07.21</c:v>
                </c:pt>
                <c:pt idx="8">
                  <c:v>04.07.21</c:v>
                </c:pt>
                <c:pt idx="9">
                  <c:v>05.07.21</c:v>
                </c:pt>
                <c:pt idx="10">
                  <c:v>06.07.21</c:v>
                </c:pt>
                <c:pt idx="11">
                  <c:v>07.07.21</c:v>
                </c:pt>
                <c:pt idx="12">
                  <c:v>08.07.21</c:v>
                </c:pt>
                <c:pt idx="13">
                  <c:v>09.07.21</c:v>
                </c:pt>
                <c:pt idx="14">
                  <c:v>10.07.21</c:v>
                </c:pt>
                <c:pt idx="15">
                  <c:v>11.07.21</c:v>
                </c:pt>
                <c:pt idx="16">
                  <c:v>12.07.21</c:v>
                </c:pt>
                <c:pt idx="17">
                  <c:v>13.07.21</c:v>
                </c:pt>
                <c:pt idx="18">
                  <c:v>14.07.21</c:v>
                </c:pt>
                <c:pt idx="19">
                  <c:v>15.07.21</c:v>
                </c:pt>
                <c:pt idx="20">
                  <c:v>16.07.21</c:v>
                </c:pt>
                <c:pt idx="21">
                  <c:v>17.07.21</c:v>
                </c:pt>
                <c:pt idx="22">
                  <c:v>18.07.21</c:v>
                </c:pt>
                <c:pt idx="23">
                  <c:v>19.07.21</c:v>
                </c:pt>
                <c:pt idx="24">
                  <c:v>20.07.21</c:v>
                </c:pt>
                <c:pt idx="25">
                  <c:v>21.07.21</c:v>
                </c:pt>
                <c:pt idx="26">
                  <c:v>22.07.21</c:v>
                </c:pt>
                <c:pt idx="27">
                  <c:v>23.07.21</c:v>
                </c:pt>
                <c:pt idx="28">
                  <c:v>24.07.21</c:v>
                </c:pt>
                <c:pt idx="29">
                  <c:v>25.07.21</c:v>
                </c:pt>
                <c:pt idx="30">
                  <c:v>26.07.21</c:v>
                </c:pt>
                <c:pt idx="31">
                  <c:v>27.07.21</c:v>
                </c:pt>
                <c:pt idx="32">
                  <c:v>28.07.21</c:v>
                </c:pt>
                <c:pt idx="33">
                  <c:v>29.07.21</c:v>
                </c:pt>
                <c:pt idx="34">
                  <c:v>30.07.21</c:v>
                </c:pt>
                <c:pt idx="35">
                  <c:v>31.07.21</c:v>
                </c:pt>
                <c:pt idx="36">
                  <c:v>01.08.21</c:v>
                </c:pt>
                <c:pt idx="37">
                  <c:v>02.08.21</c:v>
                </c:pt>
                <c:pt idx="38">
                  <c:v>03.08.21</c:v>
                </c:pt>
                <c:pt idx="39">
                  <c:v>04.08.21</c:v>
                </c:pt>
                <c:pt idx="40">
                  <c:v>05.08.21</c:v>
                </c:pt>
                <c:pt idx="41">
                  <c:v>06.08.21</c:v>
                </c:pt>
                <c:pt idx="42">
                  <c:v>07.08.21</c:v>
                </c:pt>
                <c:pt idx="43">
                  <c:v>08.08.21</c:v>
                </c:pt>
                <c:pt idx="44">
                  <c:v>09.08.21</c:v>
                </c:pt>
                <c:pt idx="45">
                  <c:v>10.08.21</c:v>
                </c:pt>
                <c:pt idx="46">
                  <c:v>11.08.21</c:v>
                </c:pt>
                <c:pt idx="47">
                  <c:v>12.08.21</c:v>
                </c:pt>
                <c:pt idx="48">
                  <c:v>13.08.21</c:v>
                </c:pt>
                <c:pt idx="49">
                  <c:v>14.08.21</c:v>
                </c:pt>
                <c:pt idx="50">
                  <c:v>15.08.21</c:v>
                </c:pt>
                <c:pt idx="51">
                  <c:v>16.08.21</c:v>
                </c:pt>
                <c:pt idx="52">
                  <c:v>17.08.21</c:v>
                </c:pt>
                <c:pt idx="53">
                  <c:v>18.08.21</c:v>
                </c:pt>
                <c:pt idx="54">
                  <c:v>19.08.21</c:v>
                </c:pt>
                <c:pt idx="55">
                  <c:v>20.08.21</c:v>
                </c:pt>
                <c:pt idx="56">
                  <c:v>21.08.21</c:v>
                </c:pt>
                <c:pt idx="57">
                  <c:v>22.08.21</c:v>
                </c:pt>
                <c:pt idx="58">
                  <c:v>23.08.21</c:v>
                </c:pt>
                <c:pt idx="59">
                  <c:v>24.08.21</c:v>
                </c:pt>
                <c:pt idx="60">
                  <c:v>25.08.21</c:v>
                </c:pt>
                <c:pt idx="61">
                  <c:v>26.08.21</c:v>
                </c:pt>
                <c:pt idx="62">
                  <c:v>27.08.21</c:v>
                </c:pt>
                <c:pt idx="63">
                  <c:v>28.08.21</c:v>
                </c:pt>
                <c:pt idx="64">
                  <c:v>29.08.21</c:v>
                </c:pt>
                <c:pt idx="65">
                  <c:v>30.08.21</c:v>
                </c:pt>
                <c:pt idx="66">
                  <c:v>31.08.21</c:v>
                </c:pt>
                <c:pt idx="67">
                  <c:v>01.09.21</c:v>
                </c:pt>
                <c:pt idx="68">
                  <c:v>02.09.21</c:v>
                </c:pt>
                <c:pt idx="69">
                  <c:v>03.09.21</c:v>
                </c:pt>
                <c:pt idx="70">
                  <c:v>04.09.21</c:v>
                </c:pt>
                <c:pt idx="71">
                  <c:v>05.09.21</c:v>
                </c:pt>
                <c:pt idx="72">
                  <c:v>06.09.21</c:v>
                </c:pt>
                <c:pt idx="73">
                  <c:v>07.09.21</c:v>
                </c:pt>
                <c:pt idx="74">
                  <c:v>08.09.21</c:v>
                </c:pt>
                <c:pt idx="75">
                  <c:v>09.09.21</c:v>
                </c:pt>
                <c:pt idx="76">
                  <c:v>10.09.21</c:v>
                </c:pt>
                <c:pt idx="77">
                  <c:v>11.09.21</c:v>
                </c:pt>
                <c:pt idx="78">
                  <c:v>12.09.21</c:v>
                </c:pt>
                <c:pt idx="79">
                  <c:v>13.09.21</c:v>
                </c:pt>
                <c:pt idx="80">
                  <c:v>14.09.21</c:v>
                </c:pt>
                <c:pt idx="81">
                  <c:v>15.09.21</c:v>
                </c:pt>
                <c:pt idx="82">
                  <c:v>16.09.21</c:v>
                </c:pt>
                <c:pt idx="83">
                  <c:v>17.09.21</c:v>
                </c:pt>
                <c:pt idx="84">
                  <c:v>18.09.21</c:v>
                </c:pt>
                <c:pt idx="85">
                  <c:v>19.09.21</c:v>
                </c:pt>
                <c:pt idx="86">
                  <c:v>20.09.21</c:v>
                </c:pt>
                <c:pt idx="87">
                  <c:v>21.09.21</c:v>
                </c:pt>
                <c:pt idx="88">
                  <c:v>22.09.21</c:v>
                </c:pt>
                <c:pt idx="89">
                  <c:v>23.09.21</c:v>
                </c:pt>
                <c:pt idx="90">
                  <c:v>24.09.21</c:v>
                </c:pt>
                <c:pt idx="91">
                  <c:v>25.09.21</c:v>
                </c:pt>
                <c:pt idx="92">
                  <c:v>26.09.21</c:v>
                </c:pt>
                <c:pt idx="93">
                  <c:v>27.09.21</c:v>
                </c:pt>
                <c:pt idx="94">
                  <c:v>28.09.21</c:v>
                </c:pt>
                <c:pt idx="95">
                  <c:v>29.09.21</c:v>
                </c:pt>
                <c:pt idx="96">
                  <c:v>30.09.21</c:v>
                </c:pt>
                <c:pt idx="97">
                  <c:v>01.10.21</c:v>
                </c:pt>
                <c:pt idx="98">
                  <c:v>02.10.21</c:v>
                </c:pt>
                <c:pt idx="99">
                  <c:v>03.10.21</c:v>
                </c:pt>
                <c:pt idx="100">
                  <c:v>04.10.21</c:v>
                </c:pt>
                <c:pt idx="101">
                  <c:v>05.10.21</c:v>
                </c:pt>
                <c:pt idx="102">
                  <c:v>06.10.21</c:v>
                </c:pt>
                <c:pt idx="103">
                  <c:v>07.10.21</c:v>
                </c:pt>
                <c:pt idx="104">
                  <c:v>08.10.21</c:v>
                </c:pt>
                <c:pt idx="105">
                  <c:v>09.10.21</c:v>
                </c:pt>
                <c:pt idx="106">
                  <c:v>10.10.21</c:v>
                </c:pt>
                <c:pt idx="107">
                  <c:v>11.10.21</c:v>
                </c:pt>
                <c:pt idx="108">
                  <c:v>12.10.21</c:v>
                </c:pt>
                <c:pt idx="109">
                  <c:v>13.10.21</c:v>
                </c:pt>
                <c:pt idx="110">
                  <c:v>14.10.21</c:v>
                </c:pt>
                <c:pt idx="111">
                  <c:v>15.10.21</c:v>
                </c:pt>
                <c:pt idx="112">
                  <c:v>16.10.21</c:v>
                </c:pt>
                <c:pt idx="113">
                  <c:v>17.10.21</c:v>
                </c:pt>
                <c:pt idx="114">
                  <c:v>18.10.21</c:v>
                </c:pt>
                <c:pt idx="115">
                  <c:v>19.10.21</c:v>
                </c:pt>
                <c:pt idx="116">
                  <c:v>20.10.21</c:v>
                </c:pt>
                <c:pt idx="117">
                  <c:v>21.10.21</c:v>
                </c:pt>
                <c:pt idx="118">
                  <c:v>22.10.21</c:v>
                </c:pt>
                <c:pt idx="119">
                  <c:v>23.10.21</c:v>
                </c:pt>
                <c:pt idx="120">
                  <c:v>24.10.21</c:v>
                </c:pt>
                <c:pt idx="121">
                  <c:v>25.10.21</c:v>
                </c:pt>
                <c:pt idx="122">
                  <c:v>26.10.21</c:v>
                </c:pt>
                <c:pt idx="123">
                  <c:v>27.10.21</c:v>
                </c:pt>
                <c:pt idx="124">
                  <c:v>28.10.21</c:v>
                </c:pt>
                <c:pt idx="125">
                  <c:v>29.10.21</c:v>
                </c:pt>
                <c:pt idx="126">
                  <c:v>30.10.21</c:v>
                </c:pt>
                <c:pt idx="127">
                  <c:v>31.10.21</c:v>
                </c:pt>
                <c:pt idx="128">
                  <c:v>01.11.21</c:v>
                </c:pt>
                <c:pt idx="129">
                  <c:v>02.11.21</c:v>
                </c:pt>
                <c:pt idx="130">
                  <c:v>03.11.21</c:v>
                </c:pt>
                <c:pt idx="131">
                  <c:v>04.11.21</c:v>
                </c:pt>
                <c:pt idx="132">
                  <c:v>05.11.21</c:v>
                </c:pt>
                <c:pt idx="133">
                  <c:v>06.11.21</c:v>
                </c:pt>
                <c:pt idx="134">
                  <c:v>07.11.21</c:v>
                </c:pt>
                <c:pt idx="135">
                  <c:v>08.11.21</c:v>
                </c:pt>
                <c:pt idx="136">
                  <c:v>09.11.21</c:v>
                </c:pt>
                <c:pt idx="137">
                  <c:v>10.11.21</c:v>
                </c:pt>
                <c:pt idx="138">
                  <c:v>11.11.21</c:v>
                </c:pt>
                <c:pt idx="139">
                  <c:v>12.11.21</c:v>
                </c:pt>
                <c:pt idx="140">
                  <c:v>13.11.21</c:v>
                </c:pt>
                <c:pt idx="141">
                  <c:v>14.11.21</c:v>
                </c:pt>
                <c:pt idx="142">
                  <c:v>15.11.21</c:v>
                </c:pt>
                <c:pt idx="143">
                  <c:v>16.11.21</c:v>
                </c:pt>
                <c:pt idx="144">
                  <c:v>17.11.21</c:v>
                </c:pt>
                <c:pt idx="145">
                  <c:v>18.11.21</c:v>
                </c:pt>
                <c:pt idx="146">
                  <c:v>19.11.21</c:v>
                </c:pt>
                <c:pt idx="147">
                  <c:v>20.11.21</c:v>
                </c:pt>
                <c:pt idx="148">
                  <c:v>21.11.21</c:v>
                </c:pt>
                <c:pt idx="149">
                  <c:v>22.11.21</c:v>
                </c:pt>
                <c:pt idx="150">
                  <c:v>23.11.21</c:v>
                </c:pt>
                <c:pt idx="151">
                  <c:v>24.11.21</c:v>
                </c:pt>
                <c:pt idx="152">
                  <c:v>25.11.21</c:v>
                </c:pt>
                <c:pt idx="153">
                  <c:v>26.11.21</c:v>
                </c:pt>
                <c:pt idx="154">
                  <c:v>27.11.21</c:v>
                </c:pt>
                <c:pt idx="155">
                  <c:v>28.11.21</c:v>
                </c:pt>
                <c:pt idx="156">
                  <c:v>29.11.21</c:v>
                </c:pt>
                <c:pt idx="157">
                  <c:v>30.11.21</c:v>
                </c:pt>
                <c:pt idx="158">
                  <c:v>01.12.21</c:v>
                </c:pt>
                <c:pt idx="159">
                  <c:v>02.12.21</c:v>
                </c:pt>
                <c:pt idx="160">
                  <c:v>03.12.21</c:v>
                </c:pt>
                <c:pt idx="161">
                  <c:v>04.12.21</c:v>
                </c:pt>
                <c:pt idx="162">
                  <c:v>05.12.21</c:v>
                </c:pt>
                <c:pt idx="163">
                  <c:v>06.12.21</c:v>
                </c:pt>
                <c:pt idx="164">
                  <c:v>07.12.21</c:v>
                </c:pt>
                <c:pt idx="165">
                  <c:v>08.12.21</c:v>
                </c:pt>
                <c:pt idx="166">
                  <c:v>09.12.21</c:v>
                </c:pt>
                <c:pt idx="167">
                  <c:v>10.12.21</c:v>
                </c:pt>
                <c:pt idx="168">
                  <c:v>11.12.21</c:v>
                </c:pt>
                <c:pt idx="169">
                  <c:v>12.12.21</c:v>
                </c:pt>
                <c:pt idx="170">
                  <c:v>13.12.21</c:v>
                </c:pt>
                <c:pt idx="171">
                  <c:v>14.12.21</c:v>
                </c:pt>
                <c:pt idx="172">
                  <c:v>15.12.21</c:v>
                </c:pt>
                <c:pt idx="173">
                  <c:v>16.12.21</c:v>
                </c:pt>
                <c:pt idx="174">
                  <c:v>17.12.21</c:v>
                </c:pt>
                <c:pt idx="175">
                  <c:v>18.12.21</c:v>
                </c:pt>
                <c:pt idx="176">
                  <c:v>19.12.21</c:v>
                </c:pt>
                <c:pt idx="177">
                  <c:v>20.12.21</c:v>
                </c:pt>
                <c:pt idx="178">
                  <c:v>21.12.21</c:v>
                </c:pt>
                <c:pt idx="179">
                  <c:v>22.12.21</c:v>
                </c:pt>
                <c:pt idx="180">
                  <c:v>23.12.21</c:v>
                </c:pt>
                <c:pt idx="181">
                  <c:v>24.12.21</c:v>
                </c:pt>
                <c:pt idx="182">
                  <c:v>25.12.21</c:v>
                </c:pt>
              </c:strCache>
            </c:strRef>
          </c:cat>
          <c:val>
            <c:numRef>
              <c:f>List1!$B$3:$GB$3</c:f>
              <c:numCache>
                <c:formatCode>General</c:formatCode>
                <c:ptCount val="183"/>
                <c:pt idx="0">
                  <c:v>0</c:v>
                </c:pt>
                <c:pt idx="1">
                  <c:v>1</c:v>
                </c:pt>
                <c:pt idx="2">
                  <c:v>1</c:v>
                </c:pt>
                <c:pt idx="3">
                  <c:v>2</c:v>
                </c:pt>
                <c:pt idx="4">
                  <c:v>0</c:v>
                </c:pt>
                <c:pt idx="5">
                  <c:v>1</c:v>
                </c:pt>
                <c:pt idx="6">
                  <c:v>2</c:v>
                </c:pt>
                <c:pt idx="7">
                  <c:v>0</c:v>
                </c:pt>
                <c:pt idx="8">
                  <c:v>1</c:v>
                </c:pt>
                <c:pt idx="9">
                  <c:v>4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1</c:v>
                </c:pt>
                <c:pt idx="14">
                  <c:v>0</c:v>
                </c:pt>
                <c:pt idx="15">
                  <c:v>0</c:v>
                </c:pt>
                <c:pt idx="16">
                  <c:v>2</c:v>
                </c:pt>
                <c:pt idx="17">
                  <c:v>3</c:v>
                </c:pt>
                <c:pt idx="18">
                  <c:v>2</c:v>
                </c:pt>
                <c:pt idx="19">
                  <c:v>2</c:v>
                </c:pt>
                <c:pt idx="20">
                  <c:v>0</c:v>
                </c:pt>
                <c:pt idx="21">
                  <c:v>0</c:v>
                </c:pt>
                <c:pt idx="22">
                  <c:v>1</c:v>
                </c:pt>
                <c:pt idx="23">
                  <c:v>4</c:v>
                </c:pt>
                <c:pt idx="24">
                  <c:v>0</c:v>
                </c:pt>
                <c:pt idx="25">
                  <c:v>4</c:v>
                </c:pt>
                <c:pt idx="26">
                  <c:v>0</c:v>
                </c:pt>
                <c:pt idx="27">
                  <c:v>4</c:v>
                </c:pt>
                <c:pt idx="28">
                  <c:v>1</c:v>
                </c:pt>
                <c:pt idx="29">
                  <c:v>1</c:v>
                </c:pt>
                <c:pt idx="30">
                  <c:v>3</c:v>
                </c:pt>
                <c:pt idx="31">
                  <c:v>0</c:v>
                </c:pt>
                <c:pt idx="32">
                  <c:v>0</c:v>
                </c:pt>
                <c:pt idx="33">
                  <c:v>1</c:v>
                </c:pt>
                <c:pt idx="34">
                  <c:v>1</c:v>
                </c:pt>
                <c:pt idx="35">
                  <c:v>1</c:v>
                </c:pt>
                <c:pt idx="36">
                  <c:v>0</c:v>
                </c:pt>
                <c:pt idx="37">
                  <c:v>0</c:v>
                </c:pt>
                <c:pt idx="38">
                  <c:v>2</c:v>
                </c:pt>
                <c:pt idx="39">
                  <c:v>1</c:v>
                </c:pt>
                <c:pt idx="40">
                  <c:v>0</c:v>
                </c:pt>
                <c:pt idx="41">
                  <c:v>1</c:v>
                </c:pt>
                <c:pt idx="42">
                  <c:v>0</c:v>
                </c:pt>
                <c:pt idx="43">
                  <c:v>0</c:v>
                </c:pt>
                <c:pt idx="44">
                  <c:v>2</c:v>
                </c:pt>
                <c:pt idx="45">
                  <c:v>2</c:v>
                </c:pt>
                <c:pt idx="46">
                  <c:v>2</c:v>
                </c:pt>
                <c:pt idx="47">
                  <c:v>1</c:v>
                </c:pt>
                <c:pt idx="48">
                  <c:v>2</c:v>
                </c:pt>
                <c:pt idx="49">
                  <c:v>3</c:v>
                </c:pt>
                <c:pt idx="50">
                  <c:v>1</c:v>
                </c:pt>
                <c:pt idx="51">
                  <c:v>3</c:v>
                </c:pt>
                <c:pt idx="52">
                  <c:v>3</c:v>
                </c:pt>
                <c:pt idx="53">
                  <c:v>2</c:v>
                </c:pt>
                <c:pt idx="54">
                  <c:v>1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4</c:v>
                </c:pt>
                <c:pt idx="59">
                  <c:v>2</c:v>
                </c:pt>
                <c:pt idx="60">
                  <c:v>0</c:v>
                </c:pt>
                <c:pt idx="61">
                  <c:v>2</c:v>
                </c:pt>
                <c:pt idx="62">
                  <c:v>1</c:v>
                </c:pt>
                <c:pt idx="63">
                  <c:v>2</c:v>
                </c:pt>
                <c:pt idx="64">
                  <c:v>1</c:v>
                </c:pt>
                <c:pt idx="65">
                  <c:v>0</c:v>
                </c:pt>
                <c:pt idx="66">
                  <c:v>2</c:v>
                </c:pt>
                <c:pt idx="67">
                  <c:v>1</c:v>
                </c:pt>
                <c:pt idx="68">
                  <c:v>5</c:v>
                </c:pt>
                <c:pt idx="69">
                  <c:v>6</c:v>
                </c:pt>
                <c:pt idx="70">
                  <c:v>1</c:v>
                </c:pt>
                <c:pt idx="71">
                  <c:v>0</c:v>
                </c:pt>
                <c:pt idx="72">
                  <c:v>2</c:v>
                </c:pt>
                <c:pt idx="73">
                  <c:v>6</c:v>
                </c:pt>
                <c:pt idx="74">
                  <c:v>1</c:v>
                </c:pt>
                <c:pt idx="75">
                  <c:v>4</c:v>
                </c:pt>
                <c:pt idx="76">
                  <c:v>0</c:v>
                </c:pt>
                <c:pt idx="77">
                  <c:v>1</c:v>
                </c:pt>
                <c:pt idx="78">
                  <c:v>2</c:v>
                </c:pt>
                <c:pt idx="79">
                  <c:v>3</c:v>
                </c:pt>
                <c:pt idx="80">
                  <c:v>4</c:v>
                </c:pt>
                <c:pt idx="81">
                  <c:v>3</c:v>
                </c:pt>
                <c:pt idx="82">
                  <c:v>7</c:v>
                </c:pt>
                <c:pt idx="83">
                  <c:v>5</c:v>
                </c:pt>
                <c:pt idx="84">
                  <c:v>2</c:v>
                </c:pt>
                <c:pt idx="85">
                  <c:v>2</c:v>
                </c:pt>
                <c:pt idx="86">
                  <c:v>10</c:v>
                </c:pt>
                <c:pt idx="87">
                  <c:v>7</c:v>
                </c:pt>
                <c:pt idx="88">
                  <c:v>6</c:v>
                </c:pt>
                <c:pt idx="89">
                  <c:v>5</c:v>
                </c:pt>
                <c:pt idx="90">
                  <c:v>7</c:v>
                </c:pt>
                <c:pt idx="91">
                  <c:v>6</c:v>
                </c:pt>
                <c:pt idx="92">
                  <c:v>6</c:v>
                </c:pt>
                <c:pt idx="93">
                  <c:v>5</c:v>
                </c:pt>
                <c:pt idx="94">
                  <c:v>7</c:v>
                </c:pt>
                <c:pt idx="95">
                  <c:v>12</c:v>
                </c:pt>
                <c:pt idx="96">
                  <c:v>15</c:v>
                </c:pt>
                <c:pt idx="97">
                  <c:v>7</c:v>
                </c:pt>
                <c:pt idx="98">
                  <c:v>5</c:v>
                </c:pt>
                <c:pt idx="99">
                  <c:v>8</c:v>
                </c:pt>
                <c:pt idx="100">
                  <c:v>10</c:v>
                </c:pt>
                <c:pt idx="101">
                  <c:v>12</c:v>
                </c:pt>
                <c:pt idx="102">
                  <c:v>9</c:v>
                </c:pt>
                <c:pt idx="103">
                  <c:v>8</c:v>
                </c:pt>
                <c:pt idx="104">
                  <c:v>9</c:v>
                </c:pt>
                <c:pt idx="105">
                  <c:v>5</c:v>
                </c:pt>
                <c:pt idx="106">
                  <c:v>4</c:v>
                </c:pt>
                <c:pt idx="107">
                  <c:v>17</c:v>
                </c:pt>
                <c:pt idx="108">
                  <c:v>17</c:v>
                </c:pt>
                <c:pt idx="109">
                  <c:v>20</c:v>
                </c:pt>
                <c:pt idx="110">
                  <c:v>19</c:v>
                </c:pt>
                <c:pt idx="111">
                  <c:v>17</c:v>
                </c:pt>
                <c:pt idx="112">
                  <c:v>10</c:v>
                </c:pt>
                <c:pt idx="113">
                  <c:v>10</c:v>
                </c:pt>
                <c:pt idx="114">
                  <c:v>32</c:v>
                </c:pt>
                <c:pt idx="115">
                  <c:v>25</c:v>
                </c:pt>
                <c:pt idx="116">
                  <c:v>24</c:v>
                </c:pt>
                <c:pt idx="117">
                  <c:v>49</c:v>
                </c:pt>
                <c:pt idx="118">
                  <c:v>38</c:v>
                </c:pt>
                <c:pt idx="119">
                  <c:v>31</c:v>
                </c:pt>
                <c:pt idx="120">
                  <c:v>11</c:v>
                </c:pt>
                <c:pt idx="121">
                  <c:v>58</c:v>
                </c:pt>
                <c:pt idx="122">
                  <c:v>63</c:v>
                </c:pt>
                <c:pt idx="123">
                  <c:v>71</c:v>
                </c:pt>
                <c:pt idx="124">
                  <c:v>32</c:v>
                </c:pt>
                <c:pt idx="125">
                  <c:v>76</c:v>
                </c:pt>
                <c:pt idx="126">
                  <c:v>56</c:v>
                </c:pt>
                <c:pt idx="127">
                  <c:v>37</c:v>
                </c:pt>
                <c:pt idx="128">
                  <c:v>103</c:v>
                </c:pt>
                <c:pt idx="129">
                  <c:v>100</c:v>
                </c:pt>
                <c:pt idx="130">
                  <c:v>107</c:v>
                </c:pt>
                <c:pt idx="131">
                  <c:v>95</c:v>
                </c:pt>
                <c:pt idx="132">
                  <c:v>107</c:v>
                </c:pt>
                <c:pt idx="133">
                  <c:v>78</c:v>
                </c:pt>
                <c:pt idx="134">
                  <c:v>25</c:v>
                </c:pt>
                <c:pt idx="135">
                  <c:v>120</c:v>
                </c:pt>
                <c:pt idx="136">
                  <c:v>133</c:v>
                </c:pt>
                <c:pt idx="137">
                  <c:v>164</c:v>
                </c:pt>
                <c:pt idx="138">
                  <c:v>91</c:v>
                </c:pt>
                <c:pt idx="139">
                  <c:v>150</c:v>
                </c:pt>
                <c:pt idx="140">
                  <c:v>86</c:v>
                </c:pt>
                <c:pt idx="141">
                  <c:v>52</c:v>
                </c:pt>
                <c:pt idx="142">
                  <c:v>148</c:v>
                </c:pt>
                <c:pt idx="143">
                  <c:v>214</c:v>
                </c:pt>
                <c:pt idx="144">
                  <c:v>106</c:v>
                </c:pt>
                <c:pt idx="145">
                  <c:v>152</c:v>
                </c:pt>
                <c:pt idx="146">
                  <c:v>213</c:v>
                </c:pt>
                <c:pt idx="147">
                  <c:v>145</c:v>
                </c:pt>
                <c:pt idx="148">
                  <c:v>78</c:v>
                </c:pt>
                <c:pt idx="149">
                  <c:v>181</c:v>
                </c:pt>
                <c:pt idx="150">
                  <c:v>239</c:v>
                </c:pt>
                <c:pt idx="151">
                  <c:v>129</c:v>
                </c:pt>
                <c:pt idx="152">
                  <c:v>197</c:v>
                </c:pt>
                <c:pt idx="153">
                  <c:v>177</c:v>
                </c:pt>
                <c:pt idx="154">
                  <c:v>99</c:v>
                </c:pt>
                <c:pt idx="155">
                  <c:v>74</c:v>
                </c:pt>
                <c:pt idx="156">
                  <c:v>187</c:v>
                </c:pt>
                <c:pt idx="157">
                  <c:v>148</c:v>
                </c:pt>
                <c:pt idx="158">
                  <c:v>155</c:v>
                </c:pt>
                <c:pt idx="159">
                  <c:v>133</c:v>
                </c:pt>
                <c:pt idx="160">
                  <c:v>127</c:v>
                </c:pt>
                <c:pt idx="161">
                  <c:v>79</c:v>
                </c:pt>
                <c:pt idx="162">
                  <c:v>59</c:v>
                </c:pt>
                <c:pt idx="163">
                  <c:v>150</c:v>
                </c:pt>
                <c:pt idx="164">
                  <c:v>143</c:v>
                </c:pt>
                <c:pt idx="165">
                  <c:v>108</c:v>
                </c:pt>
                <c:pt idx="166">
                  <c:v>118</c:v>
                </c:pt>
                <c:pt idx="167">
                  <c:v>104</c:v>
                </c:pt>
                <c:pt idx="168">
                  <c:v>70</c:v>
                </c:pt>
                <c:pt idx="169">
                  <c:v>50</c:v>
                </c:pt>
                <c:pt idx="170">
                  <c:v>95</c:v>
                </c:pt>
                <c:pt idx="171">
                  <c:v>112</c:v>
                </c:pt>
                <c:pt idx="172">
                  <c:v>77</c:v>
                </c:pt>
                <c:pt idx="173">
                  <c:v>59</c:v>
                </c:pt>
                <c:pt idx="174">
                  <c:v>71</c:v>
                </c:pt>
                <c:pt idx="175">
                  <c:v>45</c:v>
                </c:pt>
                <c:pt idx="176">
                  <c:v>29</c:v>
                </c:pt>
                <c:pt idx="177">
                  <c:v>82</c:v>
                </c:pt>
                <c:pt idx="178">
                  <c:v>72</c:v>
                </c:pt>
                <c:pt idx="179">
                  <c:v>49</c:v>
                </c:pt>
                <c:pt idx="180">
                  <c:v>51</c:v>
                </c:pt>
                <c:pt idx="181">
                  <c:v>15</c:v>
                </c:pt>
                <c:pt idx="182">
                  <c:v>1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8FD-43E4-BA1D-0B494D841FF9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Ostatní zdravotničtí pracovníci</c:v>
                </c:pt>
              </c:strCache>
            </c:strRef>
          </c:tx>
          <c:spPr>
            <a:ln w="6350" cap="rnd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-1.3019527064393282E-16"/>
                  <c:y val="-5.1288031272171325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chemeClr val="bg1">
                          <a:lumMod val="50000"/>
                        </a:schemeClr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601304996662368"/>
                      <c:h val="7.5300289757703073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6-CC25-463F-AAD4-4AD72ABB962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trendline>
            <c:spPr>
              <a:ln w="25400" cap="rnd">
                <a:solidFill>
                  <a:srgbClr val="A6A6A6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strRef>
              <c:f>List1!$B$1:$GB$1</c:f>
              <c:strCache>
                <c:ptCount val="183"/>
                <c:pt idx="0">
                  <c:v>26.06.21</c:v>
                </c:pt>
                <c:pt idx="1">
                  <c:v>27.06.21</c:v>
                </c:pt>
                <c:pt idx="2">
                  <c:v>28.06.21</c:v>
                </c:pt>
                <c:pt idx="3">
                  <c:v>29.06.21</c:v>
                </c:pt>
                <c:pt idx="4">
                  <c:v>30.06.21</c:v>
                </c:pt>
                <c:pt idx="5">
                  <c:v>01.07.21</c:v>
                </c:pt>
                <c:pt idx="6">
                  <c:v>02.07.21</c:v>
                </c:pt>
                <c:pt idx="7">
                  <c:v>03.07.21</c:v>
                </c:pt>
                <c:pt idx="8">
                  <c:v>04.07.21</c:v>
                </c:pt>
                <c:pt idx="9">
                  <c:v>05.07.21</c:v>
                </c:pt>
                <c:pt idx="10">
                  <c:v>06.07.21</c:v>
                </c:pt>
                <c:pt idx="11">
                  <c:v>07.07.21</c:v>
                </c:pt>
                <c:pt idx="12">
                  <c:v>08.07.21</c:v>
                </c:pt>
                <c:pt idx="13">
                  <c:v>09.07.21</c:v>
                </c:pt>
                <c:pt idx="14">
                  <c:v>10.07.21</c:v>
                </c:pt>
                <c:pt idx="15">
                  <c:v>11.07.21</c:v>
                </c:pt>
                <c:pt idx="16">
                  <c:v>12.07.21</c:v>
                </c:pt>
                <c:pt idx="17">
                  <c:v>13.07.21</c:v>
                </c:pt>
                <c:pt idx="18">
                  <c:v>14.07.21</c:v>
                </c:pt>
                <c:pt idx="19">
                  <c:v>15.07.21</c:v>
                </c:pt>
                <c:pt idx="20">
                  <c:v>16.07.21</c:v>
                </c:pt>
                <c:pt idx="21">
                  <c:v>17.07.21</c:v>
                </c:pt>
                <c:pt idx="22">
                  <c:v>18.07.21</c:v>
                </c:pt>
                <c:pt idx="23">
                  <c:v>19.07.21</c:v>
                </c:pt>
                <c:pt idx="24">
                  <c:v>20.07.21</c:v>
                </c:pt>
                <c:pt idx="25">
                  <c:v>21.07.21</c:v>
                </c:pt>
                <c:pt idx="26">
                  <c:v>22.07.21</c:v>
                </c:pt>
                <c:pt idx="27">
                  <c:v>23.07.21</c:v>
                </c:pt>
                <c:pt idx="28">
                  <c:v>24.07.21</c:v>
                </c:pt>
                <c:pt idx="29">
                  <c:v>25.07.21</c:v>
                </c:pt>
                <c:pt idx="30">
                  <c:v>26.07.21</c:v>
                </c:pt>
                <c:pt idx="31">
                  <c:v>27.07.21</c:v>
                </c:pt>
                <c:pt idx="32">
                  <c:v>28.07.21</c:v>
                </c:pt>
                <c:pt idx="33">
                  <c:v>29.07.21</c:v>
                </c:pt>
                <c:pt idx="34">
                  <c:v>30.07.21</c:v>
                </c:pt>
                <c:pt idx="35">
                  <c:v>31.07.21</c:v>
                </c:pt>
                <c:pt idx="36">
                  <c:v>01.08.21</c:v>
                </c:pt>
                <c:pt idx="37">
                  <c:v>02.08.21</c:v>
                </c:pt>
                <c:pt idx="38">
                  <c:v>03.08.21</c:v>
                </c:pt>
                <c:pt idx="39">
                  <c:v>04.08.21</c:v>
                </c:pt>
                <c:pt idx="40">
                  <c:v>05.08.21</c:v>
                </c:pt>
                <c:pt idx="41">
                  <c:v>06.08.21</c:v>
                </c:pt>
                <c:pt idx="42">
                  <c:v>07.08.21</c:v>
                </c:pt>
                <c:pt idx="43">
                  <c:v>08.08.21</c:v>
                </c:pt>
                <c:pt idx="44">
                  <c:v>09.08.21</c:v>
                </c:pt>
                <c:pt idx="45">
                  <c:v>10.08.21</c:v>
                </c:pt>
                <c:pt idx="46">
                  <c:v>11.08.21</c:v>
                </c:pt>
                <c:pt idx="47">
                  <c:v>12.08.21</c:v>
                </c:pt>
                <c:pt idx="48">
                  <c:v>13.08.21</c:v>
                </c:pt>
                <c:pt idx="49">
                  <c:v>14.08.21</c:v>
                </c:pt>
                <c:pt idx="50">
                  <c:v>15.08.21</c:v>
                </c:pt>
                <c:pt idx="51">
                  <c:v>16.08.21</c:v>
                </c:pt>
                <c:pt idx="52">
                  <c:v>17.08.21</c:v>
                </c:pt>
                <c:pt idx="53">
                  <c:v>18.08.21</c:v>
                </c:pt>
                <c:pt idx="54">
                  <c:v>19.08.21</c:v>
                </c:pt>
                <c:pt idx="55">
                  <c:v>20.08.21</c:v>
                </c:pt>
                <c:pt idx="56">
                  <c:v>21.08.21</c:v>
                </c:pt>
                <c:pt idx="57">
                  <c:v>22.08.21</c:v>
                </c:pt>
                <c:pt idx="58">
                  <c:v>23.08.21</c:v>
                </c:pt>
                <c:pt idx="59">
                  <c:v>24.08.21</c:v>
                </c:pt>
                <c:pt idx="60">
                  <c:v>25.08.21</c:v>
                </c:pt>
                <c:pt idx="61">
                  <c:v>26.08.21</c:v>
                </c:pt>
                <c:pt idx="62">
                  <c:v>27.08.21</c:v>
                </c:pt>
                <c:pt idx="63">
                  <c:v>28.08.21</c:v>
                </c:pt>
                <c:pt idx="64">
                  <c:v>29.08.21</c:v>
                </c:pt>
                <c:pt idx="65">
                  <c:v>30.08.21</c:v>
                </c:pt>
                <c:pt idx="66">
                  <c:v>31.08.21</c:v>
                </c:pt>
                <c:pt idx="67">
                  <c:v>01.09.21</c:v>
                </c:pt>
                <c:pt idx="68">
                  <c:v>02.09.21</c:v>
                </c:pt>
                <c:pt idx="69">
                  <c:v>03.09.21</c:v>
                </c:pt>
                <c:pt idx="70">
                  <c:v>04.09.21</c:v>
                </c:pt>
                <c:pt idx="71">
                  <c:v>05.09.21</c:v>
                </c:pt>
                <c:pt idx="72">
                  <c:v>06.09.21</c:v>
                </c:pt>
                <c:pt idx="73">
                  <c:v>07.09.21</c:v>
                </c:pt>
                <c:pt idx="74">
                  <c:v>08.09.21</c:v>
                </c:pt>
                <c:pt idx="75">
                  <c:v>09.09.21</c:v>
                </c:pt>
                <c:pt idx="76">
                  <c:v>10.09.21</c:v>
                </c:pt>
                <c:pt idx="77">
                  <c:v>11.09.21</c:v>
                </c:pt>
                <c:pt idx="78">
                  <c:v>12.09.21</c:v>
                </c:pt>
                <c:pt idx="79">
                  <c:v>13.09.21</c:v>
                </c:pt>
                <c:pt idx="80">
                  <c:v>14.09.21</c:v>
                </c:pt>
                <c:pt idx="81">
                  <c:v>15.09.21</c:v>
                </c:pt>
                <c:pt idx="82">
                  <c:v>16.09.21</c:v>
                </c:pt>
                <c:pt idx="83">
                  <c:v>17.09.21</c:v>
                </c:pt>
                <c:pt idx="84">
                  <c:v>18.09.21</c:v>
                </c:pt>
                <c:pt idx="85">
                  <c:v>19.09.21</c:v>
                </c:pt>
                <c:pt idx="86">
                  <c:v>20.09.21</c:v>
                </c:pt>
                <c:pt idx="87">
                  <c:v>21.09.21</c:v>
                </c:pt>
                <c:pt idx="88">
                  <c:v>22.09.21</c:v>
                </c:pt>
                <c:pt idx="89">
                  <c:v>23.09.21</c:v>
                </c:pt>
                <c:pt idx="90">
                  <c:v>24.09.21</c:v>
                </c:pt>
                <c:pt idx="91">
                  <c:v>25.09.21</c:v>
                </c:pt>
                <c:pt idx="92">
                  <c:v>26.09.21</c:v>
                </c:pt>
                <c:pt idx="93">
                  <c:v>27.09.21</c:v>
                </c:pt>
                <c:pt idx="94">
                  <c:v>28.09.21</c:v>
                </c:pt>
                <c:pt idx="95">
                  <c:v>29.09.21</c:v>
                </c:pt>
                <c:pt idx="96">
                  <c:v>30.09.21</c:v>
                </c:pt>
                <c:pt idx="97">
                  <c:v>01.10.21</c:v>
                </c:pt>
                <c:pt idx="98">
                  <c:v>02.10.21</c:v>
                </c:pt>
                <c:pt idx="99">
                  <c:v>03.10.21</c:v>
                </c:pt>
                <c:pt idx="100">
                  <c:v>04.10.21</c:v>
                </c:pt>
                <c:pt idx="101">
                  <c:v>05.10.21</c:v>
                </c:pt>
                <c:pt idx="102">
                  <c:v>06.10.21</c:v>
                </c:pt>
                <c:pt idx="103">
                  <c:v>07.10.21</c:v>
                </c:pt>
                <c:pt idx="104">
                  <c:v>08.10.21</c:v>
                </c:pt>
                <c:pt idx="105">
                  <c:v>09.10.21</c:v>
                </c:pt>
                <c:pt idx="106">
                  <c:v>10.10.21</c:v>
                </c:pt>
                <c:pt idx="107">
                  <c:v>11.10.21</c:v>
                </c:pt>
                <c:pt idx="108">
                  <c:v>12.10.21</c:v>
                </c:pt>
                <c:pt idx="109">
                  <c:v>13.10.21</c:v>
                </c:pt>
                <c:pt idx="110">
                  <c:v>14.10.21</c:v>
                </c:pt>
                <c:pt idx="111">
                  <c:v>15.10.21</c:v>
                </c:pt>
                <c:pt idx="112">
                  <c:v>16.10.21</c:v>
                </c:pt>
                <c:pt idx="113">
                  <c:v>17.10.21</c:v>
                </c:pt>
                <c:pt idx="114">
                  <c:v>18.10.21</c:v>
                </c:pt>
                <c:pt idx="115">
                  <c:v>19.10.21</c:v>
                </c:pt>
                <c:pt idx="116">
                  <c:v>20.10.21</c:v>
                </c:pt>
                <c:pt idx="117">
                  <c:v>21.10.21</c:v>
                </c:pt>
                <c:pt idx="118">
                  <c:v>22.10.21</c:v>
                </c:pt>
                <c:pt idx="119">
                  <c:v>23.10.21</c:v>
                </c:pt>
                <c:pt idx="120">
                  <c:v>24.10.21</c:v>
                </c:pt>
                <c:pt idx="121">
                  <c:v>25.10.21</c:v>
                </c:pt>
                <c:pt idx="122">
                  <c:v>26.10.21</c:v>
                </c:pt>
                <c:pt idx="123">
                  <c:v>27.10.21</c:v>
                </c:pt>
                <c:pt idx="124">
                  <c:v>28.10.21</c:v>
                </c:pt>
                <c:pt idx="125">
                  <c:v>29.10.21</c:v>
                </c:pt>
                <c:pt idx="126">
                  <c:v>30.10.21</c:v>
                </c:pt>
                <c:pt idx="127">
                  <c:v>31.10.21</c:v>
                </c:pt>
                <c:pt idx="128">
                  <c:v>01.11.21</c:v>
                </c:pt>
                <c:pt idx="129">
                  <c:v>02.11.21</c:v>
                </c:pt>
                <c:pt idx="130">
                  <c:v>03.11.21</c:v>
                </c:pt>
                <c:pt idx="131">
                  <c:v>04.11.21</c:v>
                </c:pt>
                <c:pt idx="132">
                  <c:v>05.11.21</c:v>
                </c:pt>
                <c:pt idx="133">
                  <c:v>06.11.21</c:v>
                </c:pt>
                <c:pt idx="134">
                  <c:v>07.11.21</c:v>
                </c:pt>
                <c:pt idx="135">
                  <c:v>08.11.21</c:v>
                </c:pt>
                <c:pt idx="136">
                  <c:v>09.11.21</c:v>
                </c:pt>
                <c:pt idx="137">
                  <c:v>10.11.21</c:v>
                </c:pt>
                <c:pt idx="138">
                  <c:v>11.11.21</c:v>
                </c:pt>
                <c:pt idx="139">
                  <c:v>12.11.21</c:v>
                </c:pt>
                <c:pt idx="140">
                  <c:v>13.11.21</c:v>
                </c:pt>
                <c:pt idx="141">
                  <c:v>14.11.21</c:v>
                </c:pt>
                <c:pt idx="142">
                  <c:v>15.11.21</c:v>
                </c:pt>
                <c:pt idx="143">
                  <c:v>16.11.21</c:v>
                </c:pt>
                <c:pt idx="144">
                  <c:v>17.11.21</c:v>
                </c:pt>
                <c:pt idx="145">
                  <c:v>18.11.21</c:v>
                </c:pt>
                <c:pt idx="146">
                  <c:v>19.11.21</c:v>
                </c:pt>
                <c:pt idx="147">
                  <c:v>20.11.21</c:v>
                </c:pt>
                <c:pt idx="148">
                  <c:v>21.11.21</c:v>
                </c:pt>
                <c:pt idx="149">
                  <c:v>22.11.21</c:v>
                </c:pt>
                <c:pt idx="150">
                  <c:v>23.11.21</c:v>
                </c:pt>
                <c:pt idx="151">
                  <c:v>24.11.21</c:v>
                </c:pt>
                <c:pt idx="152">
                  <c:v>25.11.21</c:v>
                </c:pt>
                <c:pt idx="153">
                  <c:v>26.11.21</c:v>
                </c:pt>
                <c:pt idx="154">
                  <c:v>27.11.21</c:v>
                </c:pt>
                <c:pt idx="155">
                  <c:v>28.11.21</c:v>
                </c:pt>
                <c:pt idx="156">
                  <c:v>29.11.21</c:v>
                </c:pt>
                <c:pt idx="157">
                  <c:v>30.11.21</c:v>
                </c:pt>
                <c:pt idx="158">
                  <c:v>01.12.21</c:v>
                </c:pt>
                <c:pt idx="159">
                  <c:v>02.12.21</c:v>
                </c:pt>
                <c:pt idx="160">
                  <c:v>03.12.21</c:v>
                </c:pt>
                <c:pt idx="161">
                  <c:v>04.12.21</c:v>
                </c:pt>
                <c:pt idx="162">
                  <c:v>05.12.21</c:v>
                </c:pt>
                <c:pt idx="163">
                  <c:v>06.12.21</c:v>
                </c:pt>
                <c:pt idx="164">
                  <c:v>07.12.21</c:v>
                </c:pt>
                <c:pt idx="165">
                  <c:v>08.12.21</c:v>
                </c:pt>
                <c:pt idx="166">
                  <c:v>09.12.21</c:v>
                </c:pt>
                <c:pt idx="167">
                  <c:v>10.12.21</c:v>
                </c:pt>
                <c:pt idx="168">
                  <c:v>11.12.21</c:v>
                </c:pt>
                <c:pt idx="169">
                  <c:v>12.12.21</c:v>
                </c:pt>
                <c:pt idx="170">
                  <c:v>13.12.21</c:v>
                </c:pt>
                <c:pt idx="171">
                  <c:v>14.12.21</c:v>
                </c:pt>
                <c:pt idx="172">
                  <c:v>15.12.21</c:v>
                </c:pt>
                <c:pt idx="173">
                  <c:v>16.12.21</c:v>
                </c:pt>
                <c:pt idx="174">
                  <c:v>17.12.21</c:v>
                </c:pt>
                <c:pt idx="175">
                  <c:v>18.12.21</c:v>
                </c:pt>
                <c:pt idx="176">
                  <c:v>19.12.21</c:v>
                </c:pt>
                <c:pt idx="177">
                  <c:v>20.12.21</c:v>
                </c:pt>
                <c:pt idx="178">
                  <c:v>21.12.21</c:v>
                </c:pt>
                <c:pt idx="179">
                  <c:v>22.12.21</c:v>
                </c:pt>
                <c:pt idx="180">
                  <c:v>23.12.21</c:v>
                </c:pt>
                <c:pt idx="181">
                  <c:v>24.12.21</c:v>
                </c:pt>
                <c:pt idx="182">
                  <c:v>25.12.21</c:v>
                </c:pt>
              </c:strCache>
            </c:strRef>
          </c:cat>
          <c:val>
            <c:numRef>
              <c:f>List1!$B$4:$GB$4</c:f>
              <c:numCache>
                <c:formatCode>General</c:formatCode>
                <c:ptCount val="183"/>
                <c:pt idx="0">
                  <c:v>1</c:v>
                </c:pt>
                <c:pt idx="1">
                  <c:v>2</c:v>
                </c:pt>
                <c:pt idx="2">
                  <c:v>0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1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1</c:v>
                </c:pt>
                <c:pt idx="11">
                  <c:v>1</c:v>
                </c:pt>
                <c:pt idx="12">
                  <c:v>4</c:v>
                </c:pt>
                <c:pt idx="13">
                  <c:v>4</c:v>
                </c:pt>
                <c:pt idx="14">
                  <c:v>0</c:v>
                </c:pt>
                <c:pt idx="15">
                  <c:v>0</c:v>
                </c:pt>
                <c:pt idx="16">
                  <c:v>3</c:v>
                </c:pt>
                <c:pt idx="17">
                  <c:v>0</c:v>
                </c:pt>
                <c:pt idx="18">
                  <c:v>4</c:v>
                </c:pt>
                <c:pt idx="19">
                  <c:v>2</c:v>
                </c:pt>
                <c:pt idx="20">
                  <c:v>5</c:v>
                </c:pt>
                <c:pt idx="21">
                  <c:v>1</c:v>
                </c:pt>
                <c:pt idx="22">
                  <c:v>1</c:v>
                </c:pt>
                <c:pt idx="23">
                  <c:v>4</c:v>
                </c:pt>
                <c:pt idx="24">
                  <c:v>5</c:v>
                </c:pt>
                <c:pt idx="25">
                  <c:v>1</c:v>
                </c:pt>
                <c:pt idx="26">
                  <c:v>3</c:v>
                </c:pt>
                <c:pt idx="27">
                  <c:v>2</c:v>
                </c:pt>
                <c:pt idx="28">
                  <c:v>0</c:v>
                </c:pt>
                <c:pt idx="29">
                  <c:v>2</c:v>
                </c:pt>
                <c:pt idx="30">
                  <c:v>3</c:v>
                </c:pt>
                <c:pt idx="31">
                  <c:v>4</c:v>
                </c:pt>
                <c:pt idx="32">
                  <c:v>1</c:v>
                </c:pt>
                <c:pt idx="33">
                  <c:v>3</c:v>
                </c:pt>
                <c:pt idx="34">
                  <c:v>1</c:v>
                </c:pt>
                <c:pt idx="35">
                  <c:v>1</c:v>
                </c:pt>
                <c:pt idx="36">
                  <c:v>1</c:v>
                </c:pt>
                <c:pt idx="37">
                  <c:v>2</c:v>
                </c:pt>
                <c:pt idx="38">
                  <c:v>3</c:v>
                </c:pt>
                <c:pt idx="39">
                  <c:v>3</c:v>
                </c:pt>
                <c:pt idx="40">
                  <c:v>1</c:v>
                </c:pt>
                <c:pt idx="41">
                  <c:v>2</c:v>
                </c:pt>
                <c:pt idx="42">
                  <c:v>1</c:v>
                </c:pt>
                <c:pt idx="43">
                  <c:v>0</c:v>
                </c:pt>
                <c:pt idx="44">
                  <c:v>7</c:v>
                </c:pt>
                <c:pt idx="45">
                  <c:v>1</c:v>
                </c:pt>
                <c:pt idx="46">
                  <c:v>1</c:v>
                </c:pt>
                <c:pt idx="47">
                  <c:v>2</c:v>
                </c:pt>
                <c:pt idx="48">
                  <c:v>5</c:v>
                </c:pt>
                <c:pt idx="49">
                  <c:v>2</c:v>
                </c:pt>
                <c:pt idx="50">
                  <c:v>1</c:v>
                </c:pt>
                <c:pt idx="51">
                  <c:v>1</c:v>
                </c:pt>
                <c:pt idx="52">
                  <c:v>1</c:v>
                </c:pt>
                <c:pt idx="53">
                  <c:v>1</c:v>
                </c:pt>
                <c:pt idx="54">
                  <c:v>0</c:v>
                </c:pt>
                <c:pt idx="55">
                  <c:v>3</c:v>
                </c:pt>
                <c:pt idx="56">
                  <c:v>2</c:v>
                </c:pt>
                <c:pt idx="57">
                  <c:v>2</c:v>
                </c:pt>
                <c:pt idx="58">
                  <c:v>1</c:v>
                </c:pt>
                <c:pt idx="59">
                  <c:v>3</c:v>
                </c:pt>
                <c:pt idx="60">
                  <c:v>5</c:v>
                </c:pt>
                <c:pt idx="61">
                  <c:v>2</c:v>
                </c:pt>
                <c:pt idx="62">
                  <c:v>2</c:v>
                </c:pt>
                <c:pt idx="63">
                  <c:v>0</c:v>
                </c:pt>
                <c:pt idx="64">
                  <c:v>1</c:v>
                </c:pt>
                <c:pt idx="65">
                  <c:v>1</c:v>
                </c:pt>
                <c:pt idx="66">
                  <c:v>1</c:v>
                </c:pt>
                <c:pt idx="67">
                  <c:v>2</c:v>
                </c:pt>
                <c:pt idx="68">
                  <c:v>4</c:v>
                </c:pt>
                <c:pt idx="69">
                  <c:v>6</c:v>
                </c:pt>
                <c:pt idx="70">
                  <c:v>5</c:v>
                </c:pt>
                <c:pt idx="71">
                  <c:v>1</c:v>
                </c:pt>
                <c:pt idx="72">
                  <c:v>5</c:v>
                </c:pt>
                <c:pt idx="73">
                  <c:v>4</c:v>
                </c:pt>
                <c:pt idx="74">
                  <c:v>1</c:v>
                </c:pt>
                <c:pt idx="75">
                  <c:v>3</c:v>
                </c:pt>
                <c:pt idx="76">
                  <c:v>2</c:v>
                </c:pt>
                <c:pt idx="77">
                  <c:v>0</c:v>
                </c:pt>
                <c:pt idx="78">
                  <c:v>3</c:v>
                </c:pt>
                <c:pt idx="79">
                  <c:v>2</c:v>
                </c:pt>
                <c:pt idx="80">
                  <c:v>3</c:v>
                </c:pt>
                <c:pt idx="81">
                  <c:v>5</c:v>
                </c:pt>
                <c:pt idx="82">
                  <c:v>7</c:v>
                </c:pt>
                <c:pt idx="83">
                  <c:v>4</c:v>
                </c:pt>
                <c:pt idx="84">
                  <c:v>2</c:v>
                </c:pt>
                <c:pt idx="85">
                  <c:v>5</c:v>
                </c:pt>
                <c:pt idx="86">
                  <c:v>8</c:v>
                </c:pt>
                <c:pt idx="87">
                  <c:v>9</c:v>
                </c:pt>
                <c:pt idx="88">
                  <c:v>8</c:v>
                </c:pt>
                <c:pt idx="89">
                  <c:v>5</c:v>
                </c:pt>
                <c:pt idx="90">
                  <c:v>4</c:v>
                </c:pt>
                <c:pt idx="91">
                  <c:v>4</c:v>
                </c:pt>
                <c:pt idx="92">
                  <c:v>2</c:v>
                </c:pt>
                <c:pt idx="93">
                  <c:v>7</c:v>
                </c:pt>
                <c:pt idx="94">
                  <c:v>6</c:v>
                </c:pt>
                <c:pt idx="95">
                  <c:v>8</c:v>
                </c:pt>
                <c:pt idx="96">
                  <c:v>12</c:v>
                </c:pt>
                <c:pt idx="97">
                  <c:v>8</c:v>
                </c:pt>
                <c:pt idx="98">
                  <c:v>4</c:v>
                </c:pt>
                <c:pt idx="99">
                  <c:v>7</c:v>
                </c:pt>
                <c:pt idx="100">
                  <c:v>9</c:v>
                </c:pt>
                <c:pt idx="101">
                  <c:v>12</c:v>
                </c:pt>
                <c:pt idx="102">
                  <c:v>13</c:v>
                </c:pt>
                <c:pt idx="103">
                  <c:v>15</c:v>
                </c:pt>
                <c:pt idx="104">
                  <c:v>8</c:v>
                </c:pt>
                <c:pt idx="105">
                  <c:v>7</c:v>
                </c:pt>
                <c:pt idx="106">
                  <c:v>5</c:v>
                </c:pt>
                <c:pt idx="107">
                  <c:v>19</c:v>
                </c:pt>
                <c:pt idx="108">
                  <c:v>31</c:v>
                </c:pt>
                <c:pt idx="109">
                  <c:v>18</c:v>
                </c:pt>
                <c:pt idx="110">
                  <c:v>16</c:v>
                </c:pt>
                <c:pt idx="111">
                  <c:v>14</c:v>
                </c:pt>
                <c:pt idx="112">
                  <c:v>9</c:v>
                </c:pt>
                <c:pt idx="113">
                  <c:v>13</c:v>
                </c:pt>
                <c:pt idx="114">
                  <c:v>38</c:v>
                </c:pt>
                <c:pt idx="115">
                  <c:v>53</c:v>
                </c:pt>
                <c:pt idx="116">
                  <c:v>48</c:v>
                </c:pt>
                <c:pt idx="117">
                  <c:v>53</c:v>
                </c:pt>
                <c:pt idx="118">
                  <c:v>42</c:v>
                </c:pt>
                <c:pt idx="119">
                  <c:v>27</c:v>
                </c:pt>
                <c:pt idx="120">
                  <c:v>20</c:v>
                </c:pt>
                <c:pt idx="121">
                  <c:v>76</c:v>
                </c:pt>
                <c:pt idx="122">
                  <c:v>81</c:v>
                </c:pt>
                <c:pt idx="123">
                  <c:v>64</c:v>
                </c:pt>
                <c:pt idx="124">
                  <c:v>38</c:v>
                </c:pt>
                <c:pt idx="125">
                  <c:v>79</c:v>
                </c:pt>
                <c:pt idx="126">
                  <c:v>51</c:v>
                </c:pt>
                <c:pt idx="127">
                  <c:v>40</c:v>
                </c:pt>
                <c:pt idx="128">
                  <c:v>130</c:v>
                </c:pt>
                <c:pt idx="129">
                  <c:v>128</c:v>
                </c:pt>
                <c:pt idx="130">
                  <c:v>102</c:v>
                </c:pt>
                <c:pt idx="131">
                  <c:v>106</c:v>
                </c:pt>
                <c:pt idx="132">
                  <c:v>127</c:v>
                </c:pt>
                <c:pt idx="133">
                  <c:v>53</c:v>
                </c:pt>
                <c:pt idx="134">
                  <c:v>37</c:v>
                </c:pt>
                <c:pt idx="135">
                  <c:v>127</c:v>
                </c:pt>
                <c:pt idx="136">
                  <c:v>138</c:v>
                </c:pt>
                <c:pt idx="137">
                  <c:v>139</c:v>
                </c:pt>
                <c:pt idx="138">
                  <c:v>113</c:v>
                </c:pt>
                <c:pt idx="139">
                  <c:v>158</c:v>
                </c:pt>
                <c:pt idx="140">
                  <c:v>94</c:v>
                </c:pt>
                <c:pt idx="141">
                  <c:v>49</c:v>
                </c:pt>
                <c:pt idx="142">
                  <c:v>156</c:v>
                </c:pt>
                <c:pt idx="143">
                  <c:v>192</c:v>
                </c:pt>
                <c:pt idx="144">
                  <c:v>140</c:v>
                </c:pt>
                <c:pt idx="145">
                  <c:v>157</c:v>
                </c:pt>
                <c:pt idx="146">
                  <c:v>238</c:v>
                </c:pt>
                <c:pt idx="147">
                  <c:v>118</c:v>
                </c:pt>
                <c:pt idx="148">
                  <c:v>88</c:v>
                </c:pt>
                <c:pt idx="149">
                  <c:v>197</c:v>
                </c:pt>
                <c:pt idx="150">
                  <c:v>203</c:v>
                </c:pt>
                <c:pt idx="151">
                  <c:v>170</c:v>
                </c:pt>
                <c:pt idx="152">
                  <c:v>246</c:v>
                </c:pt>
                <c:pt idx="153">
                  <c:v>141</c:v>
                </c:pt>
                <c:pt idx="154">
                  <c:v>108</c:v>
                </c:pt>
                <c:pt idx="155">
                  <c:v>81</c:v>
                </c:pt>
                <c:pt idx="156">
                  <c:v>199</c:v>
                </c:pt>
                <c:pt idx="157">
                  <c:v>176</c:v>
                </c:pt>
                <c:pt idx="158">
                  <c:v>157</c:v>
                </c:pt>
                <c:pt idx="159">
                  <c:v>124</c:v>
                </c:pt>
                <c:pt idx="160">
                  <c:v>152</c:v>
                </c:pt>
                <c:pt idx="161">
                  <c:v>94</c:v>
                </c:pt>
                <c:pt idx="162">
                  <c:v>64</c:v>
                </c:pt>
                <c:pt idx="163">
                  <c:v>187</c:v>
                </c:pt>
                <c:pt idx="164">
                  <c:v>157</c:v>
                </c:pt>
                <c:pt idx="165">
                  <c:v>128</c:v>
                </c:pt>
                <c:pt idx="166">
                  <c:v>107</c:v>
                </c:pt>
                <c:pt idx="167">
                  <c:v>88</c:v>
                </c:pt>
                <c:pt idx="168">
                  <c:v>74</c:v>
                </c:pt>
                <c:pt idx="169">
                  <c:v>58</c:v>
                </c:pt>
                <c:pt idx="170">
                  <c:v>114</c:v>
                </c:pt>
                <c:pt idx="171">
                  <c:v>164</c:v>
                </c:pt>
                <c:pt idx="172">
                  <c:v>89</c:v>
                </c:pt>
                <c:pt idx="173">
                  <c:v>86</c:v>
                </c:pt>
                <c:pt idx="174">
                  <c:v>91</c:v>
                </c:pt>
                <c:pt idx="175">
                  <c:v>58</c:v>
                </c:pt>
                <c:pt idx="176">
                  <c:v>40</c:v>
                </c:pt>
                <c:pt idx="177">
                  <c:v>98</c:v>
                </c:pt>
                <c:pt idx="178">
                  <c:v>87</c:v>
                </c:pt>
                <c:pt idx="179">
                  <c:v>43</c:v>
                </c:pt>
                <c:pt idx="180">
                  <c:v>51</c:v>
                </c:pt>
                <c:pt idx="181">
                  <c:v>11</c:v>
                </c:pt>
                <c:pt idx="182">
                  <c:v>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E8FD-43E4-BA1D-0B494D841FF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04314152"/>
        <c:axId val="604312192"/>
      </c:lineChart>
      <c:catAx>
        <c:axId val="604314152"/>
        <c:scaling>
          <c:orientation val="minMax"/>
        </c:scaling>
        <c:delete val="0"/>
        <c:axPos val="b"/>
        <c:numFmt formatCode="dd/mm/yy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604312192"/>
        <c:crosses val="autoZero"/>
        <c:auto val="1"/>
        <c:lblAlgn val="ctr"/>
        <c:lblOffset val="100"/>
        <c:tickLblSkip val="7"/>
        <c:noMultiLvlLbl val="0"/>
      </c:catAx>
      <c:valAx>
        <c:axId val="604312192"/>
        <c:scaling>
          <c:orientation val="minMax"/>
          <c:max val="30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6043141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pPr>
      <a:endParaRPr lang="cs-CZ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2895491925027349E-2"/>
          <c:y val="2.8733097084892491E-2"/>
          <c:w val="0.69322079746689458"/>
          <c:h val="0.83918438300516462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Lékaři</c:v>
                </c:pt>
              </c:strCache>
            </c:strRef>
          </c:tx>
          <c:spPr>
            <a:ln w="28575" cap="rnd">
              <a:solidFill>
                <a:srgbClr val="4472C4"/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-1.3019527064393282E-16"/>
                  <c:y val="2.3312783206719222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rgbClr val="4472C4"/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601304996662368"/>
                      <c:h val="4.114706235985942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37CD-4BA3-857E-B86804E5EE0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B$1</c:f>
              <c:strCache>
                <c:ptCount val="183"/>
                <c:pt idx="0">
                  <c:v>26.06.21</c:v>
                </c:pt>
                <c:pt idx="1">
                  <c:v>27.06.21</c:v>
                </c:pt>
                <c:pt idx="2">
                  <c:v>28.06.21</c:v>
                </c:pt>
                <c:pt idx="3">
                  <c:v>29.06.21</c:v>
                </c:pt>
                <c:pt idx="4">
                  <c:v>30.06.21</c:v>
                </c:pt>
                <c:pt idx="5">
                  <c:v>01.07.21</c:v>
                </c:pt>
                <c:pt idx="6">
                  <c:v>02.07.21</c:v>
                </c:pt>
                <c:pt idx="7">
                  <c:v>03.07.21</c:v>
                </c:pt>
                <c:pt idx="8">
                  <c:v>04.07.21</c:v>
                </c:pt>
                <c:pt idx="9">
                  <c:v>05.07.21</c:v>
                </c:pt>
                <c:pt idx="10">
                  <c:v>06.07.21</c:v>
                </c:pt>
                <c:pt idx="11">
                  <c:v>07.07.21</c:v>
                </c:pt>
                <c:pt idx="12">
                  <c:v>08.07.21</c:v>
                </c:pt>
                <c:pt idx="13">
                  <c:v>09.07.21</c:v>
                </c:pt>
                <c:pt idx="14">
                  <c:v>10.07.21</c:v>
                </c:pt>
                <c:pt idx="15">
                  <c:v>11.07.21</c:v>
                </c:pt>
                <c:pt idx="16">
                  <c:v>12.07.21</c:v>
                </c:pt>
                <c:pt idx="17">
                  <c:v>13.07.21</c:v>
                </c:pt>
                <c:pt idx="18">
                  <c:v>14.07.21</c:v>
                </c:pt>
                <c:pt idx="19">
                  <c:v>15.07.21</c:v>
                </c:pt>
                <c:pt idx="20">
                  <c:v>16.07.21</c:v>
                </c:pt>
                <c:pt idx="21">
                  <c:v>17.07.21</c:v>
                </c:pt>
                <c:pt idx="22">
                  <c:v>18.07.21</c:v>
                </c:pt>
                <c:pt idx="23">
                  <c:v>19.07.21</c:v>
                </c:pt>
                <c:pt idx="24">
                  <c:v>20.07.21</c:v>
                </c:pt>
                <c:pt idx="25">
                  <c:v>21.07.21</c:v>
                </c:pt>
                <c:pt idx="26">
                  <c:v>22.07.21</c:v>
                </c:pt>
                <c:pt idx="27">
                  <c:v>23.07.21</c:v>
                </c:pt>
                <c:pt idx="28">
                  <c:v>24.07.21</c:v>
                </c:pt>
                <c:pt idx="29">
                  <c:v>25.07.21</c:v>
                </c:pt>
                <c:pt idx="30">
                  <c:v>26.07.21</c:v>
                </c:pt>
                <c:pt idx="31">
                  <c:v>27.07.21</c:v>
                </c:pt>
                <c:pt idx="32">
                  <c:v>28.07.21</c:v>
                </c:pt>
                <c:pt idx="33">
                  <c:v>29.07.21</c:v>
                </c:pt>
                <c:pt idx="34">
                  <c:v>30.07.21</c:v>
                </c:pt>
                <c:pt idx="35">
                  <c:v>31.07.21</c:v>
                </c:pt>
                <c:pt idx="36">
                  <c:v>01.08.21</c:v>
                </c:pt>
                <c:pt idx="37">
                  <c:v>02.08.21</c:v>
                </c:pt>
                <c:pt idx="38">
                  <c:v>03.08.21</c:v>
                </c:pt>
                <c:pt idx="39">
                  <c:v>04.08.21</c:v>
                </c:pt>
                <c:pt idx="40">
                  <c:v>05.08.21</c:v>
                </c:pt>
                <c:pt idx="41">
                  <c:v>06.08.21</c:v>
                </c:pt>
                <c:pt idx="42">
                  <c:v>07.08.21</c:v>
                </c:pt>
                <c:pt idx="43">
                  <c:v>08.08.21</c:v>
                </c:pt>
                <c:pt idx="44">
                  <c:v>09.08.21</c:v>
                </c:pt>
                <c:pt idx="45">
                  <c:v>10.08.21</c:v>
                </c:pt>
                <c:pt idx="46">
                  <c:v>11.08.21</c:v>
                </c:pt>
                <c:pt idx="47">
                  <c:v>12.08.21</c:v>
                </c:pt>
                <c:pt idx="48">
                  <c:v>13.08.21</c:v>
                </c:pt>
                <c:pt idx="49">
                  <c:v>14.08.21</c:v>
                </c:pt>
                <c:pt idx="50">
                  <c:v>15.08.21</c:v>
                </c:pt>
                <c:pt idx="51">
                  <c:v>16.08.21</c:v>
                </c:pt>
                <c:pt idx="52">
                  <c:v>17.08.21</c:v>
                </c:pt>
                <c:pt idx="53">
                  <c:v>18.08.21</c:v>
                </c:pt>
                <c:pt idx="54">
                  <c:v>19.08.21</c:v>
                </c:pt>
                <c:pt idx="55">
                  <c:v>20.08.21</c:v>
                </c:pt>
                <c:pt idx="56">
                  <c:v>21.08.21</c:v>
                </c:pt>
                <c:pt idx="57">
                  <c:v>22.08.21</c:v>
                </c:pt>
                <c:pt idx="58">
                  <c:v>23.08.21</c:v>
                </c:pt>
                <c:pt idx="59">
                  <c:v>24.08.21</c:v>
                </c:pt>
                <c:pt idx="60">
                  <c:v>25.08.21</c:v>
                </c:pt>
                <c:pt idx="61">
                  <c:v>26.08.21</c:v>
                </c:pt>
                <c:pt idx="62">
                  <c:v>27.08.21</c:v>
                </c:pt>
                <c:pt idx="63">
                  <c:v>28.08.21</c:v>
                </c:pt>
                <c:pt idx="64">
                  <c:v>29.08.21</c:v>
                </c:pt>
                <c:pt idx="65">
                  <c:v>30.08.21</c:v>
                </c:pt>
                <c:pt idx="66">
                  <c:v>31.08.21</c:v>
                </c:pt>
                <c:pt idx="67">
                  <c:v>01.09.21</c:v>
                </c:pt>
                <c:pt idx="68">
                  <c:v>02.09.21</c:v>
                </c:pt>
                <c:pt idx="69">
                  <c:v>03.09.21</c:v>
                </c:pt>
                <c:pt idx="70">
                  <c:v>04.09.21</c:v>
                </c:pt>
                <c:pt idx="71">
                  <c:v>05.09.21</c:v>
                </c:pt>
                <c:pt idx="72">
                  <c:v>06.09.21</c:v>
                </c:pt>
                <c:pt idx="73">
                  <c:v>07.09.21</c:v>
                </c:pt>
                <c:pt idx="74">
                  <c:v>08.09.21</c:v>
                </c:pt>
                <c:pt idx="75">
                  <c:v>09.09.21</c:v>
                </c:pt>
                <c:pt idx="76">
                  <c:v>10.09.21</c:v>
                </c:pt>
                <c:pt idx="77">
                  <c:v>11.09.21</c:v>
                </c:pt>
                <c:pt idx="78">
                  <c:v>12.09.21</c:v>
                </c:pt>
                <c:pt idx="79">
                  <c:v>13.09.21</c:v>
                </c:pt>
                <c:pt idx="80">
                  <c:v>14.09.21</c:v>
                </c:pt>
                <c:pt idx="81">
                  <c:v>15.09.21</c:v>
                </c:pt>
                <c:pt idx="82">
                  <c:v>16.09.21</c:v>
                </c:pt>
                <c:pt idx="83">
                  <c:v>17.09.21</c:v>
                </c:pt>
                <c:pt idx="84">
                  <c:v>18.09.21</c:v>
                </c:pt>
                <c:pt idx="85">
                  <c:v>19.09.21</c:v>
                </c:pt>
                <c:pt idx="86">
                  <c:v>20.09.21</c:v>
                </c:pt>
                <c:pt idx="87">
                  <c:v>21.09.21</c:v>
                </c:pt>
                <c:pt idx="88">
                  <c:v>22.09.21</c:v>
                </c:pt>
                <c:pt idx="89">
                  <c:v>23.09.21</c:v>
                </c:pt>
                <c:pt idx="90">
                  <c:v>24.09.21</c:v>
                </c:pt>
                <c:pt idx="91">
                  <c:v>25.09.21</c:v>
                </c:pt>
                <c:pt idx="92">
                  <c:v>26.09.21</c:v>
                </c:pt>
                <c:pt idx="93">
                  <c:v>27.09.21</c:v>
                </c:pt>
                <c:pt idx="94">
                  <c:v>28.09.21</c:v>
                </c:pt>
                <c:pt idx="95">
                  <c:v>29.09.21</c:v>
                </c:pt>
                <c:pt idx="96">
                  <c:v>30.09.21</c:v>
                </c:pt>
                <c:pt idx="97">
                  <c:v>01.10.21</c:v>
                </c:pt>
                <c:pt idx="98">
                  <c:v>02.10.21</c:v>
                </c:pt>
                <c:pt idx="99">
                  <c:v>03.10.21</c:v>
                </c:pt>
                <c:pt idx="100">
                  <c:v>04.10.21</c:v>
                </c:pt>
                <c:pt idx="101">
                  <c:v>05.10.21</c:v>
                </c:pt>
                <c:pt idx="102">
                  <c:v>06.10.21</c:v>
                </c:pt>
                <c:pt idx="103">
                  <c:v>07.10.21</c:v>
                </c:pt>
                <c:pt idx="104">
                  <c:v>08.10.21</c:v>
                </c:pt>
                <c:pt idx="105">
                  <c:v>09.10.21</c:v>
                </c:pt>
                <c:pt idx="106">
                  <c:v>10.10.21</c:v>
                </c:pt>
                <c:pt idx="107">
                  <c:v>11.10.21</c:v>
                </c:pt>
                <c:pt idx="108">
                  <c:v>12.10.21</c:v>
                </c:pt>
                <c:pt idx="109">
                  <c:v>13.10.21</c:v>
                </c:pt>
                <c:pt idx="110">
                  <c:v>14.10.21</c:v>
                </c:pt>
                <c:pt idx="111">
                  <c:v>15.10.21</c:v>
                </c:pt>
                <c:pt idx="112">
                  <c:v>16.10.21</c:v>
                </c:pt>
                <c:pt idx="113">
                  <c:v>17.10.21</c:v>
                </c:pt>
                <c:pt idx="114">
                  <c:v>18.10.21</c:v>
                </c:pt>
                <c:pt idx="115">
                  <c:v>19.10.21</c:v>
                </c:pt>
                <c:pt idx="116">
                  <c:v>20.10.21</c:v>
                </c:pt>
                <c:pt idx="117">
                  <c:v>21.10.21</c:v>
                </c:pt>
                <c:pt idx="118">
                  <c:v>22.10.21</c:v>
                </c:pt>
                <c:pt idx="119">
                  <c:v>23.10.21</c:v>
                </c:pt>
                <c:pt idx="120">
                  <c:v>24.10.21</c:v>
                </c:pt>
                <c:pt idx="121">
                  <c:v>25.10.21</c:v>
                </c:pt>
                <c:pt idx="122">
                  <c:v>26.10.21</c:v>
                </c:pt>
                <c:pt idx="123">
                  <c:v>27.10.21</c:v>
                </c:pt>
                <c:pt idx="124">
                  <c:v>28.10.21</c:v>
                </c:pt>
                <c:pt idx="125">
                  <c:v>29.10.21</c:v>
                </c:pt>
                <c:pt idx="126">
                  <c:v>30.10.21</c:v>
                </c:pt>
                <c:pt idx="127">
                  <c:v>31.10.21</c:v>
                </c:pt>
                <c:pt idx="128">
                  <c:v>01.11.21</c:v>
                </c:pt>
                <c:pt idx="129">
                  <c:v>02.11.21</c:v>
                </c:pt>
                <c:pt idx="130">
                  <c:v>03.11.21</c:v>
                </c:pt>
                <c:pt idx="131">
                  <c:v>04.11.21</c:v>
                </c:pt>
                <c:pt idx="132">
                  <c:v>05.11.21</c:v>
                </c:pt>
                <c:pt idx="133">
                  <c:v>06.11.21</c:v>
                </c:pt>
                <c:pt idx="134">
                  <c:v>07.11.21</c:v>
                </c:pt>
                <c:pt idx="135">
                  <c:v>08.11.21</c:v>
                </c:pt>
                <c:pt idx="136">
                  <c:v>09.11.21</c:v>
                </c:pt>
                <c:pt idx="137">
                  <c:v>10.11.21</c:v>
                </c:pt>
                <c:pt idx="138">
                  <c:v>11.11.21</c:v>
                </c:pt>
                <c:pt idx="139">
                  <c:v>12.11.21</c:v>
                </c:pt>
                <c:pt idx="140">
                  <c:v>13.11.21</c:v>
                </c:pt>
                <c:pt idx="141">
                  <c:v>14.11.21</c:v>
                </c:pt>
                <c:pt idx="142">
                  <c:v>15.11.21</c:v>
                </c:pt>
                <c:pt idx="143">
                  <c:v>16.11.21</c:v>
                </c:pt>
                <c:pt idx="144">
                  <c:v>17.11.21</c:v>
                </c:pt>
                <c:pt idx="145">
                  <c:v>18.11.21</c:v>
                </c:pt>
                <c:pt idx="146">
                  <c:v>19.11.21</c:v>
                </c:pt>
                <c:pt idx="147">
                  <c:v>20.11.21</c:v>
                </c:pt>
                <c:pt idx="148">
                  <c:v>21.11.21</c:v>
                </c:pt>
                <c:pt idx="149">
                  <c:v>22.11.21</c:v>
                </c:pt>
                <c:pt idx="150">
                  <c:v>23.11.21</c:v>
                </c:pt>
                <c:pt idx="151">
                  <c:v>24.11.21</c:v>
                </c:pt>
                <c:pt idx="152">
                  <c:v>25.11.21</c:v>
                </c:pt>
                <c:pt idx="153">
                  <c:v>26.11.21</c:v>
                </c:pt>
                <c:pt idx="154">
                  <c:v>27.11.21</c:v>
                </c:pt>
                <c:pt idx="155">
                  <c:v>28.11.21</c:v>
                </c:pt>
                <c:pt idx="156">
                  <c:v>29.11.21</c:v>
                </c:pt>
                <c:pt idx="157">
                  <c:v>30.11.21</c:v>
                </c:pt>
                <c:pt idx="158">
                  <c:v>01.12.21</c:v>
                </c:pt>
                <c:pt idx="159">
                  <c:v>02.12.21</c:v>
                </c:pt>
                <c:pt idx="160">
                  <c:v>03.12.21</c:v>
                </c:pt>
                <c:pt idx="161">
                  <c:v>04.12.21</c:v>
                </c:pt>
                <c:pt idx="162">
                  <c:v>05.12.21</c:v>
                </c:pt>
                <c:pt idx="163">
                  <c:v>06.12.21</c:v>
                </c:pt>
                <c:pt idx="164">
                  <c:v>07.12.21</c:v>
                </c:pt>
                <c:pt idx="165">
                  <c:v>08.12.21</c:v>
                </c:pt>
                <c:pt idx="166">
                  <c:v>09.12.21</c:v>
                </c:pt>
                <c:pt idx="167">
                  <c:v>10.12.21</c:v>
                </c:pt>
                <c:pt idx="168">
                  <c:v>11.12.21</c:v>
                </c:pt>
                <c:pt idx="169">
                  <c:v>12.12.21</c:v>
                </c:pt>
                <c:pt idx="170">
                  <c:v>13.12.21</c:v>
                </c:pt>
                <c:pt idx="171">
                  <c:v>14.12.21</c:v>
                </c:pt>
                <c:pt idx="172">
                  <c:v>15.12.21</c:v>
                </c:pt>
                <c:pt idx="173">
                  <c:v>16.12.21</c:v>
                </c:pt>
                <c:pt idx="174">
                  <c:v>17.12.21</c:v>
                </c:pt>
                <c:pt idx="175">
                  <c:v>18.12.21</c:v>
                </c:pt>
                <c:pt idx="176">
                  <c:v>19.12.21</c:v>
                </c:pt>
                <c:pt idx="177">
                  <c:v>20.12.21</c:v>
                </c:pt>
                <c:pt idx="178">
                  <c:v>21.12.21</c:v>
                </c:pt>
                <c:pt idx="179">
                  <c:v>22.12.21</c:v>
                </c:pt>
                <c:pt idx="180">
                  <c:v>23.12.21</c:v>
                </c:pt>
                <c:pt idx="181">
                  <c:v>24.12.21</c:v>
                </c:pt>
                <c:pt idx="182">
                  <c:v>25.12.21</c:v>
                </c:pt>
              </c:strCache>
            </c:strRef>
          </c:cat>
          <c:val>
            <c:numRef>
              <c:f>List1!$B$2:$GB$2</c:f>
              <c:numCache>
                <c:formatCode>General</c:formatCode>
                <c:ptCount val="183"/>
                <c:pt idx="0">
                  <c:v>7</c:v>
                </c:pt>
                <c:pt idx="1">
                  <c:v>7</c:v>
                </c:pt>
                <c:pt idx="2">
                  <c:v>6</c:v>
                </c:pt>
                <c:pt idx="3">
                  <c:v>6</c:v>
                </c:pt>
                <c:pt idx="4">
                  <c:v>6</c:v>
                </c:pt>
                <c:pt idx="5">
                  <c:v>7</c:v>
                </c:pt>
                <c:pt idx="6">
                  <c:v>7</c:v>
                </c:pt>
                <c:pt idx="7">
                  <c:v>7</c:v>
                </c:pt>
                <c:pt idx="8">
                  <c:v>8</c:v>
                </c:pt>
                <c:pt idx="9">
                  <c:v>8</c:v>
                </c:pt>
                <c:pt idx="10">
                  <c:v>8</c:v>
                </c:pt>
                <c:pt idx="11">
                  <c:v>8</c:v>
                </c:pt>
                <c:pt idx="12">
                  <c:v>8</c:v>
                </c:pt>
                <c:pt idx="13">
                  <c:v>10</c:v>
                </c:pt>
                <c:pt idx="14">
                  <c:v>10</c:v>
                </c:pt>
                <c:pt idx="15">
                  <c:v>10</c:v>
                </c:pt>
                <c:pt idx="16">
                  <c:v>12</c:v>
                </c:pt>
                <c:pt idx="17">
                  <c:v>13</c:v>
                </c:pt>
                <c:pt idx="18">
                  <c:v>12</c:v>
                </c:pt>
                <c:pt idx="19">
                  <c:v>12</c:v>
                </c:pt>
                <c:pt idx="20">
                  <c:v>15</c:v>
                </c:pt>
                <c:pt idx="21">
                  <c:v>17</c:v>
                </c:pt>
                <c:pt idx="22">
                  <c:v>17</c:v>
                </c:pt>
                <c:pt idx="23">
                  <c:v>19</c:v>
                </c:pt>
                <c:pt idx="24">
                  <c:v>21</c:v>
                </c:pt>
                <c:pt idx="25">
                  <c:v>23</c:v>
                </c:pt>
                <c:pt idx="26">
                  <c:v>26</c:v>
                </c:pt>
                <c:pt idx="27">
                  <c:v>25</c:v>
                </c:pt>
                <c:pt idx="28">
                  <c:v>25</c:v>
                </c:pt>
                <c:pt idx="29">
                  <c:v>26</c:v>
                </c:pt>
                <c:pt idx="30">
                  <c:v>26</c:v>
                </c:pt>
                <c:pt idx="31">
                  <c:v>27</c:v>
                </c:pt>
                <c:pt idx="32">
                  <c:v>28</c:v>
                </c:pt>
                <c:pt idx="33">
                  <c:v>29</c:v>
                </c:pt>
                <c:pt idx="34">
                  <c:v>27</c:v>
                </c:pt>
                <c:pt idx="35">
                  <c:v>26</c:v>
                </c:pt>
                <c:pt idx="36">
                  <c:v>25</c:v>
                </c:pt>
                <c:pt idx="37">
                  <c:v>23</c:v>
                </c:pt>
                <c:pt idx="38">
                  <c:v>21</c:v>
                </c:pt>
                <c:pt idx="39">
                  <c:v>24</c:v>
                </c:pt>
                <c:pt idx="40">
                  <c:v>22</c:v>
                </c:pt>
                <c:pt idx="41">
                  <c:v>24</c:v>
                </c:pt>
                <c:pt idx="42">
                  <c:v>21</c:v>
                </c:pt>
                <c:pt idx="43">
                  <c:v>23</c:v>
                </c:pt>
                <c:pt idx="44">
                  <c:v>23</c:v>
                </c:pt>
                <c:pt idx="45">
                  <c:v>23</c:v>
                </c:pt>
                <c:pt idx="46">
                  <c:v>23</c:v>
                </c:pt>
                <c:pt idx="47">
                  <c:v>24</c:v>
                </c:pt>
                <c:pt idx="48">
                  <c:v>24</c:v>
                </c:pt>
                <c:pt idx="49">
                  <c:v>24</c:v>
                </c:pt>
                <c:pt idx="50">
                  <c:v>24</c:v>
                </c:pt>
                <c:pt idx="51">
                  <c:v>27</c:v>
                </c:pt>
                <c:pt idx="52">
                  <c:v>24</c:v>
                </c:pt>
                <c:pt idx="53">
                  <c:v>21</c:v>
                </c:pt>
                <c:pt idx="54">
                  <c:v>21</c:v>
                </c:pt>
                <c:pt idx="55">
                  <c:v>20</c:v>
                </c:pt>
                <c:pt idx="56">
                  <c:v>19</c:v>
                </c:pt>
                <c:pt idx="57">
                  <c:v>17</c:v>
                </c:pt>
                <c:pt idx="58">
                  <c:v>18</c:v>
                </c:pt>
                <c:pt idx="59">
                  <c:v>17</c:v>
                </c:pt>
                <c:pt idx="60">
                  <c:v>15</c:v>
                </c:pt>
                <c:pt idx="61">
                  <c:v>16</c:v>
                </c:pt>
                <c:pt idx="62">
                  <c:v>16</c:v>
                </c:pt>
                <c:pt idx="63">
                  <c:v>17</c:v>
                </c:pt>
                <c:pt idx="64">
                  <c:v>16</c:v>
                </c:pt>
                <c:pt idx="65">
                  <c:v>14</c:v>
                </c:pt>
                <c:pt idx="66">
                  <c:v>18</c:v>
                </c:pt>
                <c:pt idx="67">
                  <c:v>21</c:v>
                </c:pt>
                <c:pt idx="68">
                  <c:v>22</c:v>
                </c:pt>
                <c:pt idx="69">
                  <c:v>22</c:v>
                </c:pt>
                <c:pt idx="70">
                  <c:v>25</c:v>
                </c:pt>
                <c:pt idx="71">
                  <c:v>26</c:v>
                </c:pt>
                <c:pt idx="72">
                  <c:v>24</c:v>
                </c:pt>
                <c:pt idx="73">
                  <c:v>25</c:v>
                </c:pt>
                <c:pt idx="74">
                  <c:v>24</c:v>
                </c:pt>
                <c:pt idx="75">
                  <c:v>24</c:v>
                </c:pt>
                <c:pt idx="76">
                  <c:v>25</c:v>
                </c:pt>
                <c:pt idx="77">
                  <c:v>28</c:v>
                </c:pt>
                <c:pt idx="78">
                  <c:v>27</c:v>
                </c:pt>
                <c:pt idx="79">
                  <c:v>29</c:v>
                </c:pt>
                <c:pt idx="80">
                  <c:v>28</c:v>
                </c:pt>
                <c:pt idx="81">
                  <c:v>25</c:v>
                </c:pt>
                <c:pt idx="82">
                  <c:v>26</c:v>
                </c:pt>
                <c:pt idx="83">
                  <c:v>26</c:v>
                </c:pt>
                <c:pt idx="84">
                  <c:v>25</c:v>
                </c:pt>
                <c:pt idx="85">
                  <c:v>25</c:v>
                </c:pt>
                <c:pt idx="86">
                  <c:v>23</c:v>
                </c:pt>
                <c:pt idx="87">
                  <c:v>26</c:v>
                </c:pt>
                <c:pt idx="88">
                  <c:v>29</c:v>
                </c:pt>
                <c:pt idx="89">
                  <c:v>29</c:v>
                </c:pt>
                <c:pt idx="90">
                  <c:v>30</c:v>
                </c:pt>
                <c:pt idx="91">
                  <c:v>28</c:v>
                </c:pt>
                <c:pt idx="92">
                  <c:v>28</c:v>
                </c:pt>
                <c:pt idx="93">
                  <c:v>30</c:v>
                </c:pt>
                <c:pt idx="94">
                  <c:v>34</c:v>
                </c:pt>
                <c:pt idx="95">
                  <c:v>37</c:v>
                </c:pt>
                <c:pt idx="96">
                  <c:v>45</c:v>
                </c:pt>
                <c:pt idx="97">
                  <c:v>46</c:v>
                </c:pt>
                <c:pt idx="98">
                  <c:v>50</c:v>
                </c:pt>
                <c:pt idx="99">
                  <c:v>50</c:v>
                </c:pt>
                <c:pt idx="100">
                  <c:v>49</c:v>
                </c:pt>
                <c:pt idx="101">
                  <c:v>48</c:v>
                </c:pt>
                <c:pt idx="102">
                  <c:v>49</c:v>
                </c:pt>
                <c:pt idx="103">
                  <c:v>54</c:v>
                </c:pt>
                <c:pt idx="104">
                  <c:v>57</c:v>
                </c:pt>
                <c:pt idx="105">
                  <c:v>58</c:v>
                </c:pt>
                <c:pt idx="106">
                  <c:v>57</c:v>
                </c:pt>
                <c:pt idx="107">
                  <c:v>51</c:v>
                </c:pt>
                <c:pt idx="108">
                  <c:v>60</c:v>
                </c:pt>
                <c:pt idx="109">
                  <c:v>57</c:v>
                </c:pt>
                <c:pt idx="110">
                  <c:v>60</c:v>
                </c:pt>
                <c:pt idx="111">
                  <c:v>63</c:v>
                </c:pt>
                <c:pt idx="112">
                  <c:v>66</c:v>
                </c:pt>
                <c:pt idx="113">
                  <c:v>72</c:v>
                </c:pt>
                <c:pt idx="114">
                  <c:v>89</c:v>
                </c:pt>
                <c:pt idx="115">
                  <c:v>102</c:v>
                </c:pt>
                <c:pt idx="116">
                  <c:v>110</c:v>
                </c:pt>
                <c:pt idx="117">
                  <c:v>117</c:v>
                </c:pt>
                <c:pt idx="118">
                  <c:v>128</c:v>
                </c:pt>
                <c:pt idx="119">
                  <c:v>141</c:v>
                </c:pt>
                <c:pt idx="120">
                  <c:v>151</c:v>
                </c:pt>
                <c:pt idx="121">
                  <c:v>177</c:v>
                </c:pt>
                <c:pt idx="122">
                  <c:v>184</c:v>
                </c:pt>
                <c:pt idx="123">
                  <c:v>203</c:v>
                </c:pt>
                <c:pt idx="124">
                  <c:v>217</c:v>
                </c:pt>
                <c:pt idx="125">
                  <c:v>247</c:v>
                </c:pt>
                <c:pt idx="126">
                  <c:v>263</c:v>
                </c:pt>
                <c:pt idx="127">
                  <c:v>269</c:v>
                </c:pt>
                <c:pt idx="128">
                  <c:v>308</c:v>
                </c:pt>
                <c:pt idx="129">
                  <c:v>330</c:v>
                </c:pt>
                <c:pt idx="130">
                  <c:v>353</c:v>
                </c:pt>
                <c:pt idx="131">
                  <c:v>367</c:v>
                </c:pt>
                <c:pt idx="132">
                  <c:v>385</c:v>
                </c:pt>
                <c:pt idx="133">
                  <c:v>393</c:v>
                </c:pt>
                <c:pt idx="134">
                  <c:v>401</c:v>
                </c:pt>
                <c:pt idx="135">
                  <c:v>421</c:v>
                </c:pt>
                <c:pt idx="136">
                  <c:v>451</c:v>
                </c:pt>
                <c:pt idx="137">
                  <c:v>468</c:v>
                </c:pt>
                <c:pt idx="138">
                  <c:v>501</c:v>
                </c:pt>
                <c:pt idx="139">
                  <c:v>500</c:v>
                </c:pt>
                <c:pt idx="140">
                  <c:v>535</c:v>
                </c:pt>
                <c:pt idx="141">
                  <c:v>540</c:v>
                </c:pt>
                <c:pt idx="142">
                  <c:v>538</c:v>
                </c:pt>
                <c:pt idx="143">
                  <c:v>564</c:v>
                </c:pt>
                <c:pt idx="144">
                  <c:v>570</c:v>
                </c:pt>
                <c:pt idx="145">
                  <c:v>594</c:v>
                </c:pt>
                <c:pt idx="146">
                  <c:v>636</c:v>
                </c:pt>
                <c:pt idx="147">
                  <c:v>664</c:v>
                </c:pt>
                <c:pt idx="148">
                  <c:v>668</c:v>
                </c:pt>
                <c:pt idx="149">
                  <c:v>664</c:v>
                </c:pt>
                <c:pt idx="150">
                  <c:v>702</c:v>
                </c:pt>
                <c:pt idx="151">
                  <c:v>690</c:v>
                </c:pt>
                <c:pt idx="152">
                  <c:v>705</c:v>
                </c:pt>
                <c:pt idx="153">
                  <c:v>697</c:v>
                </c:pt>
                <c:pt idx="154">
                  <c:v>701</c:v>
                </c:pt>
                <c:pt idx="155">
                  <c:v>716</c:v>
                </c:pt>
                <c:pt idx="156">
                  <c:v>706</c:v>
                </c:pt>
                <c:pt idx="157">
                  <c:v>699</c:v>
                </c:pt>
                <c:pt idx="158">
                  <c:v>713</c:v>
                </c:pt>
                <c:pt idx="159">
                  <c:v>685</c:v>
                </c:pt>
                <c:pt idx="160">
                  <c:v>658</c:v>
                </c:pt>
                <c:pt idx="161">
                  <c:v>652</c:v>
                </c:pt>
                <c:pt idx="162">
                  <c:v>634</c:v>
                </c:pt>
                <c:pt idx="163">
                  <c:v>593</c:v>
                </c:pt>
                <c:pt idx="164">
                  <c:v>573</c:v>
                </c:pt>
                <c:pt idx="165">
                  <c:v>560</c:v>
                </c:pt>
                <c:pt idx="166">
                  <c:v>531</c:v>
                </c:pt>
                <c:pt idx="167">
                  <c:v>510</c:v>
                </c:pt>
                <c:pt idx="168">
                  <c:v>500</c:v>
                </c:pt>
                <c:pt idx="169">
                  <c:v>479</c:v>
                </c:pt>
                <c:pt idx="170">
                  <c:v>448</c:v>
                </c:pt>
                <c:pt idx="171">
                  <c:v>426</c:v>
                </c:pt>
                <c:pt idx="172">
                  <c:v>403</c:v>
                </c:pt>
                <c:pt idx="173">
                  <c:v>376</c:v>
                </c:pt>
                <c:pt idx="174">
                  <c:v>353</c:v>
                </c:pt>
                <c:pt idx="175">
                  <c:v>350</c:v>
                </c:pt>
                <c:pt idx="176">
                  <c:v>347</c:v>
                </c:pt>
                <c:pt idx="177">
                  <c:v>320</c:v>
                </c:pt>
                <c:pt idx="178">
                  <c:v>319</c:v>
                </c:pt>
                <c:pt idx="179">
                  <c:v>336</c:v>
                </c:pt>
                <c:pt idx="180">
                  <c:v>355</c:v>
                </c:pt>
                <c:pt idx="181">
                  <c:v>356</c:v>
                </c:pt>
                <c:pt idx="182">
                  <c:v>36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7CD-4BA3-857E-B86804E5EE02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Sesterská povolání</c:v>
                </c:pt>
              </c:strCache>
            </c:strRef>
          </c:tx>
          <c:spPr>
            <a:ln w="28575" cap="rnd">
              <a:solidFill>
                <a:srgbClr val="ED7D31"/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1.7754105636927238E-3"/>
                  <c:y val="9.1782611050075675E-8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rgbClr val="ED7D31"/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197070572569906"/>
                      <c:h val="4.7324949909640007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37CD-4BA3-857E-B86804E5EE0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algn="l">
                  <a:defRPr sz="1200" b="0" i="0" u="none" strike="noStrike" kern="1200" baseline="0">
                    <a:solidFill>
                      <a:schemeClr val="tx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List1!$B$1:$GB$1</c:f>
              <c:strCache>
                <c:ptCount val="183"/>
                <c:pt idx="0">
                  <c:v>26.06.21</c:v>
                </c:pt>
                <c:pt idx="1">
                  <c:v>27.06.21</c:v>
                </c:pt>
                <c:pt idx="2">
                  <c:v>28.06.21</c:v>
                </c:pt>
                <c:pt idx="3">
                  <c:v>29.06.21</c:v>
                </c:pt>
                <c:pt idx="4">
                  <c:v>30.06.21</c:v>
                </c:pt>
                <c:pt idx="5">
                  <c:v>01.07.21</c:v>
                </c:pt>
                <c:pt idx="6">
                  <c:v>02.07.21</c:v>
                </c:pt>
                <c:pt idx="7">
                  <c:v>03.07.21</c:v>
                </c:pt>
                <c:pt idx="8">
                  <c:v>04.07.21</c:v>
                </c:pt>
                <c:pt idx="9">
                  <c:v>05.07.21</c:v>
                </c:pt>
                <c:pt idx="10">
                  <c:v>06.07.21</c:v>
                </c:pt>
                <c:pt idx="11">
                  <c:v>07.07.21</c:v>
                </c:pt>
                <c:pt idx="12">
                  <c:v>08.07.21</c:v>
                </c:pt>
                <c:pt idx="13">
                  <c:v>09.07.21</c:v>
                </c:pt>
                <c:pt idx="14">
                  <c:v>10.07.21</c:v>
                </c:pt>
                <c:pt idx="15">
                  <c:v>11.07.21</c:v>
                </c:pt>
                <c:pt idx="16">
                  <c:v>12.07.21</c:v>
                </c:pt>
                <c:pt idx="17">
                  <c:v>13.07.21</c:v>
                </c:pt>
                <c:pt idx="18">
                  <c:v>14.07.21</c:v>
                </c:pt>
                <c:pt idx="19">
                  <c:v>15.07.21</c:v>
                </c:pt>
                <c:pt idx="20">
                  <c:v>16.07.21</c:v>
                </c:pt>
                <c:pt idx="21">
                  <c:v>17.07.21</c:v>
                </c:pt>
                <c:pt idx="22">
                  <c:v>18.07.21</c:v>
                </c:pt>
                <c:pt idx="23">
                  <c:v>19.07.21</c:v>
                </c:pt>
                <c:pt idx="24">
                  <c:v>20.07.21</c:v>
                </c:pt>
                <c:pt idx="25">
                  <c:v>21.07.21</c:v>
                </c:pt>
                <c:pt idx="26">
                  <c:v>22.07.21</c:v>
                </c:pt>
                <c:pt idx="27">
                  <c:v>23.07.21</c:v>
                </c:pt>
                <c:pt idx="28">
                  <c:v>24.07.21</c:v>
                </c:pt>
                <c:pt idx="29">
                  <c:v>25.07.21</c:v>
                </c:pt>
                <c:pt idx="30">
                  <c:v>26.07.21</c:v>
                </c:pt>
                <c:pt idx="31">
                  <c:v>27.07.21</c:v>
                </c:pt>
                <c:pt idx="32">
                  <c:v>28.07.21</c:v>
                </c:pt>
                <c:pt idx="33">
                  <c:v>29.07.21</c:v>
                </c:pt>
                <c:pt idx="34">
                  <c:v>30.07.21</c:v>
                </c:pt>
                <c:pt idx="35">
                  <c:v>31.07.21</c:v>
                </c:pt>
                <c:pt idx="36">
                  <c:v>01.08.21</c:v>
                </c:pt>
                <c:pt idx="37">
                  <c:v>02.08.21</c:v>
                </c:pt>
                <c:pt idx="38">
                  <c:v>03.08.21</c:v>
                </c:pt>
                <c:pt idx="39">
                  <c:v>04.08.21</c:v>
                </c:pt>
                <c:pt idx="40">
                  <c:v>05.08.21</c:v>
                </c:pt>
                <c:pt idx="41">
                  <c:v>06.08.21</c:v>
                </c:pt>
                <c:pt idx="42">
                  <c:v>07.08.21</c:v>
                </c:pt>
                <c:pt idx="43">
                  <c:v>08.08.21</c:v>
                </c:pt>
                <c:pt idx="44">
                  <c:v>09.08.21</c:v>
                </c:pt>
                <c:pt idx="45">
                  <c:v>10.08.21</c:v>
                </c:pt>
                <c:pt idx="46">
                  <c:v>11.08.21</c:v>
                </c:pt>
                <c:pt idx="47">
                  <c:v>12.08.21</c:v>
                </c:pt>
                <c:pt idx="48">
                  <c:v>13.08.21</c:v>
                </c:pt>
                <c:pt idx="49">
                  <c:v>14.08.21</c:v>
                </c:pt>
                <c:pt idx="50">
                  <c:v>15.08.21</c:v>
                </c:pt>
                <c:pt idx="51">
                  <c:v>16.08.21</c:v>
                </c:pt>
                <c:pt idx="52">
                  <c:v>17.08.21</c:v>
                </c:pt>
                <c:pt idx="53">
                  <c:v>18.08.21</c:v>
                </c:pt>
                <c:pt idx="54">
                  <c:v>19.08.21</c:v>
                </c:pt>
                <c:pt idx="55">
                  <c:v>20.08.21</c:v>
                </c:pt>
                <c:pt idx="56">
                  <c:v>21.08.21</c:v>
                </c:pt>
                <c:pt idx="57">
                  <c:v>22.08.21</c:v>
                </c:pt>
                <c:pt idx="58">
                  <c:v>23.08.21</c:v>
                </c:pt>
                <c:pt idx="59">
                  <c:v>24.08.21</c:v>
                </c:pt>
                <c:pt idx="60">
                  <c:v>25.08.21</c:v>
                </c:pt>
                <c:pt idx="61">
                  <c:v>26.08.21</c:v>
                </c:pt>
                <c:pt idx="62">
                  <c:v>27.08.21</c:v>
                </c:pt>
                <c:pt idx="63">
                  <c:v>28.08.21</c:v>
                </c:pt>
                <c:pt idx="64">
                  <c:v>29.08.21</c:v>
                </c:pt>
                <c:pt idx="65">
                  <c:v>30.08.21</c:v>
                </c:pt>
                <c:pt idx="66">
                  <c:v>31.08.21</c:v>
                </c:pt>
                <c:pt idx="67">
                  <c:v>01.09.21</c:v>
                </c:pt>
                <c:pt idx="68">
                  <c:v>02.09.21</c:v>
                </c:pt>
                <c:pt idx="69">
                  <c:v>03.09.21</c:v>
                </c:pt>
                <c:pt idx="70">
                  <c:v>04.09.21</c:v>
                </c:pt>
                <c:pt idx="71">
                  <c:v>05.09.21</c:v>
                </c:pt>
                <c:pt idx="72">
                  <c:v>06.09.21</c:v>
                </c:pt>
                <c:pt idx="73">
                  <c:v>07.09.21</c:v>
                </c:pt>
                <c:pt idx="74">
                  <c:v>08.09.21</c:v>
                </c:pt>
                <c:pt idx="75">
                  <c:v>09.09.21</c:v>
                </c:pt>
                <c:pt idx="76">
                  <c:v>10.09.21</c:v>
                </c:pt>
                <c:pt idx="77">
                  <c:v>11.09.21</c:v>
                </c:pt>
                <c:pt idx="78">
                  <c:v>12.09.21</c:v>
                </c:pt>
                <c:pt idx="79">
                  <c:v>13.09.21</c:v>
                </c:pt>
                <c:pt idx="80">
                  <c:v>14.09.21</c:v>
                </c:pt>
                <c:pt idx="81">
                  <c:v>15.09.21</c:v>
                </c:pt>
                <c:pt idx="82">
                  <c:v>16.09.21</c:v>
                </c:pt>
                <c:pt idx="83">
                  <c:v>17.09.21</c:v>
                </c:pt>
                <c:pt idx="84">
                  <c:v>18.09.21</c:v>
                </c:pt>
                <c:pt idx="85">
                  <c:v>19.09.21</c:v>
                </c:pt>
                <c:pt idx="86">
                  <c:v>20.09.21</c:v>
                </c:pt>
                <c:pt idx="87">
                  <c:v>21.09.21</c:v>
                </c:pt>
                <c:pt idx="88">
                  <c:v>22.09.21</c:v>
                </c:pt>
                <c:pt idx="89">
                  <c:v>23.09.21</c:v>
                </c:pt>
                <c:pt idx="90">
                  <c:v>24.09.21</c:v>
                </c:pt>
                <c:pt idx="91">
                  <c:v>25.09.21</c:v>
                </c:pt>
                <c:pt idx="92">
                  <c:v>26.09.21</c:v>
                </c:pt>
                <c:pt idx="93">
                  <c:v>27.09.21</c:v>
                </c:pt>
                <c:pt idx="94">
                  <c:v>28.09.21</c:v>
                </c:pt>
                <c:pt idx="95">
                  <c:v>29.09.21</c:v>
                </c:pt>
                <c:pt idx="96">
                  <c:v>30.09.21</c:v>
                </c:pt>
                <c:pt idx="97">
                  <c:v>01.10.21</c:v>
                </c:pt>
                <c:pt idx="98">
                  <c:v>02.10.21</c:v>
                </c:pt>
                <c:pt idx="99">
                  <c:v>03.10.21</c:v>
                </c:pt>
                <c:pt idx="100">
                  <c:v>04.10.21</c:v>
                </c:pt>
                <c:pt idx="101">
                  <c:v>05.10.21</c:v>
                </c:pt>
                <c:pt idx="102">
                  <c:v>06.10.21</c:v>
                </c:pt>
                <c:pt idx="103">
                  <c:v>07.10.21</c:v>
                </c:pt>
                <c:pt idx="104">
                  <c:v>08.10.21</c:v>
                </c:pt>
                <c:pt idx="105">
                  <c:v>09.10.21</c:v>
                </c:pt>
                <c:pt idx="106">
                  <c:v>10.10.21</c:v>
                </c:pt>
                <c:pt idx="107">
                  <c:v>11.10.21</c:v>
                </c:pt>
                <c:pt idx="108">
                  <c:v>12.10.21</c:v>
                </c:pt>
                <c:pt idx="109">
                  <c:v>13.10.21</c:v>
                </c:pt>
                <c:pt idx="110">
                  <c:v>14.10.21</c:v>
                </c:pt>
                <c:pt idx="111">
                  <c:v>15.10.21</c:v>
                </c:pt>
                <c:pt idx="112">
                  <c:v>16.10.21</c:v>
                </c:pt>
                <c:pt idx="113">
                  <c:v>17.10.21</c:v>
                </c:pt>
                <c:pt idx="114">
                  <c:v>18.10.21</c:v>
                </c:pt>
                <c:pt idx="115">
                  <c:v>19.10.21</c:v>
                </c:pt>
                <c:pt idx="116">
                  <c:v>20.10.21</c:v>
                </c:pt>
                <c:pt idx="117">
                  <c:v>21.10.21</c:v>
                </c:pt>
                <c:pt idx="118">
                  <c:v>22.10.21</c:v>
                </c:pt>
                <c:pt idx="119">
                  <c:v>23.10.21</c:v>
                </c:pt>
                <c:pt idx="120">
                  <c:v>24.10.21</c:v>
                </c:pt>
                <c:pt idx="121">
                  <c:v>25.10.21</c:v>
                </c:pt>
                <c:pt idx="122">
                  <c:v>26.10.21</c:v>
                </c:pt>
                <c:pt idx="123">
                  <c:v>27.10.21</c:v>
                </c:pt>
                <c:pt idx="124">
                  <c:v>28.10.21</c:v>
                </c:pt>
                <c:pt idx="125">
                  <c:v>29.10.21</c:v>
                </c:pt>
                <c:pt idx="126">
                  <c:v>30.10.21</c:v>
                </c:pt>
                <c:pt idx="127">
                  <c:v>31.10.21</c:v>
                </c:pt>
                <c:pt idx="128">
                  <c:v>01.11.21</c:v>
                </c:pt>
                <c:pt idx="129">
                  <c:v>02.11.21</c:v>
                </c:pt>
                <c:pt idx="130">
                  <c:v>03.11.21</c:v>
                </c:pt>
                <c:pt idx="131">
                  <c:v>04.11.21</c:v>
                </c:pt>
                <c:pt idx="132">
                  <c:v>05.11.21</c:v>
                </c:pt>
                <c:pt idx="133">
                  <c:v>06.11.21</c:v>
                </c:pt>
                <c:pt idx="134">
                  <c:v>07.11.21</c:v>
                </c:pt>
                <c:pt idx="135">
                  <c:v>08.11.21</c:v>
                </c:pt>
                <c:pt idx="136">
                  <c:v>09.11.21</c:v>
                </c:pt>
                <c:pt idx="137">
                  <c:v>10.11.21</c:v>
                </c:pt>
                <c:pt idx="138">
                  <c:v>11.11.21</c:v>
                </c:pt>
                <c:pt idx="139">
                  <c:v>12.11.21</c:v>
                </c:pt>
                <c:pt idx="140">
                  <c:v>13.11.21</c:v>
                </c:pt>
                <c:pt idx="141">
                  <c:v>14.11.21</c:v>
                </c:pt>
                <c:pt idx="142">
                  <c:v>15.11.21</c:v>
                </c:pt>
                <c:pt idx="143">
                  <c:v>16.11.21</c:v>
                </c:pt>
                <c:pt idx="144">
                  <c:v>17.11.21</c:v>
                </c:pt>
                <c:pt idx="145">
                  <c:v>18.11.21</c:v>
                </c:pt>
                <c:pt idx="146">
                  <c:v>19.11.21</c:v>
                </c:pt>
                <c:pt idx="147">
                  <c:v>20.11.21</c:v>
                </c:pt>
                <c:pt idx="148">
                  <c:v>21.11.21</c:v>
                </c:pt>
                <c:pt idx="149">
                  <c:v>22.11.21</c:v>
                </c:pt>
                <c:pt idx="150">
                  <c:v>23.11.21</c:v>
                </c:pt>
                <c:pt idx="151">
                  <c:v>24.11.21</c:v>
                </c:pt>
                <c:pt idx="152">
                  <c:v>25.11.21</c:v>
                </c:pt>
                <c:pt idx="153">
                  <c:v>26.11.21</c:v>
                </c:pt>
                <c:pt idx="154">
                  <c:v>27.11.21</c:v>
                </c:pt>
                <c:pt idx="155">
                  <c:v>28.11.21</c:v>
                </c:pt>
                <c:pt idx="156">
                  <c:v>29.11.21</c:v>
                </c:pt>
                <c:pt idx="157">
                  <c:v>30.11.21</c:v>
                </c:pt>
                <c:pt idx="158">
                  <c:v>01.12.21</c:v>
                </c:pt>
                <c:pt idx="159">
                  <c:v>02.12.21</c:v>
                </c:pt>
                <c:pt idx="160">
                  <c:v>03.12.21</c:v>
                </c:pt>
                <c:pt idx="161">
                  <c:v>04.12.21</c:v>
                </c:pt>
                <c:pt idx="162">
                  <c:v>05.12.21</c:v>
                </c:pt>
                <c:pt idx="163">
                  <c:v>06.12.21</c:v>
                </c:pt>
                <c:pt idx="164">
                  <c:v>07.12.21</c:v>
                </c:pt>
                <c:pt idx="165">
                  <c:v>08.12.21</c:v>
                </c:pt>
                <c:pt idx="166">
                  <c:v>09.12.21</c:v>
                </c:pt>
                <c:pt idx="167">
                  <c:v>10.12.21</c:v>
                </c:pt>
                <c:pt idx="168">
                  <c:v>11.12.21</c:v>
                </c:pt>
                <c:pt idx="169">
                  <c:v>12.12.21</c:v>
                </c:pt>
                <c:pt idx="170">
                  <c:v>13.12.21</c:v>
                </c:pt>
                <c:pt idx="171">
                  <c:v>14.12.21</c:v>
                </c:pt>
                <c:pt idx="172">
                  <c:v>15.12.21</c:v>
                </c:pt>
                <c:pt idx="173">
                  <c:v>16.12.21</c:v>
                </c:pt>
                <c:pt idx="174">
                  <c:v>17.12.21</c:v>
                </c:pt>
                <c:pt idx="175">
                  <c:v>18.12.21</c:v>
                </c:pt>
                <c:pt idx="176">
                  <c:v>19.12.21</c:v>
                </c:pt>
                <c:pt idx="177">
                  <c:v>20.12.21</c:v>
                </c:pt>
                <c:pt idx="178">
                  <c:v>21.12.21</c:v>
                </c:pt>
                <c:pt idx="179">
                  <c:v>22.12.21</c:v>
                </c:pt>
                <c:pt idx="180">
                  <c:v>23.12.21</c:v>
                </c:pt>
                <c:pt idx="181">
                  <c:v>24.12.21</c:v>
                </c:pt>
                <c:pt idx="182">
                  <c:v>25.12.21</c:v>
                </c:pt>
              </c:strCache>
            </c:strRef>
          </c:cat>
          <c:val>
            <c:numRef>
              <c:f>List1!$B$3:$GB$3</c:f>
              <c:numCache>
                <c:formatCode>General</c:formatCode>
                <c:ptCount val="183"/>
                <c:pt idx="0">
                  <c:v>31</c:v>
                </c:pt>
                <c:pt idx="1">
                  <c:v>29</c:v>
                </c:pt>
                <c:pt idx="2">
                  <c:v>30</c:v>
                </c:pt>
                <c:pt idx="3">
                  <c:v>32</c:v>
                </c:pt>
                <c:pt idx="4">
                  <c:v>31</c:v>
                </c:pt>
                <c:pt idx="5">
                  <c:v>30</c:v>
                </c:pt>
                <c:pt idx="6">
                  <c:v>30</c:v>
                </c:pt>
                <c:pt idx="7">
                  <c:v>30</c:v>
                </c:pt>
                <c:pt idx="8">
                  <c:v>31</c:v>
                </c:pt>
                <c:pt idx="9">
                  <c:v>35</c:v>
                </c:pt>
                <c:pt idx="10">
                  <c:v>35</c:v>
                </c:pt>
                <c:pt idx="11">
                  <c:v>35</c:v>
                </c:pt>
                <c:pt idx="12">
                  <c:v>34</c:v>
                </c:pt>
                <c:pt idx="13">
                  <c:v>34</c:v>
                </c:pt>
                <c:pt idx="14">
                  <c:v>34</c:v>
                </c:pt>
                <c:pt idx="15">
                  <c:v>33</c:v>
                </c:pt>
                <c:pt idx="16">
                  <c:v>33</c:v>
                </c:pt>
                <c:pt idx="17">
                  <c:v>35</c:v>
                </c:pt>
                <c:pt idx="18">
                  <c:v>37</c:v>
                </c:pt>
                <c:pt idx="19">
                  <c:v>38</c:v>
                </c:pt>
                <c:pt idx="20">
                  <c:v>36</c:v>
                </c:pt>
                <c:pt idx="21">
                  <c:v>35</c:v>
                </c:pt>
                <c:pt idx="22">
                  <c:v>35</c:v>
                </c:pt>
                <c:pt idx="23">
                  <c:v>37</c:v>
                </c:pt>
                <c:pt idx="24">
                  <c:v>37</c:v>
                </c:pt>
                <c:pt idx="25">
                  <c:v>40</c:v>
                </c:pt>
                <c:pt idx="26">
                  <c:v>40</c:v>
                </c:pt>
                <c:pt idx="27">
                  <c:v>43</c:v>
                </c:pt>
                <c:pt idx="28">
                  <c:v>44</c:v>
                </c:pt>
                <c:pt idx="29">
                  <c:v>45</c:v>
                </c:pt>
                <c:pt idx="30">
                  <c:v>44</c:v>
                </c:pt>
                <c:pt idx="31">
                  <c:v>42</c:v>
                </c:pt>
                <c:pt idx="32">
                  <c:v>41</c:v>
                </c:pt>
                <c:pt idx="33">
                  <c:v>40</c:v>
                </c:pt>
                <c:pt idx="34">
                  <c:v>41</c:v>
                </c:pt>
                <c:pt idx="35">
                  <c:v>41</c:v>
                </c:pt>
                <c:pt idx="36">
                  <c:v>41</c:v>
                </c:pt>
                <c:pt idx="37">
                  <c:v>37</c:v>
                </c:pt>
                <c:pt idx="38">
                  <c:v>39</c:v>
                </c:pt>
                <c:pt idx="39">
                  <c:v>37</c:v>
                </c:pt>
                <c:pt idx="40">
                  <c:v>36</c:v>
                </c:pt>
                <c:pt idx="41">
                  <c:v>33</c:v>
                </c:pt>
                <c:pt idx="42">
                  <c:v>32</c:v>
                </c:pt>
                <c:pt idx="43">
                  <c:v>29</c:v>
                </c:pt>
                <c:pt idx="44">
                  <c:v>31</c:v>
                </c:pt>
                <c:pt idx="45">
                  <c:v>33</c:v>
                </c:pt>
                <c:pt idx="46">
                  <c:v>35</c:v>
                </c:pt>
                <c:pt idx="47">
                  <c:v>35</c:v>
                </c:pt>
                <c:pt idx="48">
                  <c:v>37</c:v>
                </c:pt>
                <c:pt idx="49">
                  <c:v>38</c:v>
                </c:pt>
                <c:pt idx="50">
                  <c:v>39</c:v>
                </c:pt>
                <c:pt idx="51">
                  <c:v>41</c:v>
                </c:pt>
                <c:pt idx="52">
                  <c:v>43</c:v>
                </c:pt>
                <c:pt idx="53">
                  <c:v>44</c:v>
                </c:pt>
                <c:pt idx="54">
                  <c:v>44</c:v>
                </c:pt>
                <c:pt idx="55">
                  <c:v>44</c:v>
                </c:pt>
                <c:pt idx="56">
                  <c:v>44</c:v>
                </c:pt>
                <c:pt idx="57">
                  <c:v>44</c:v>
                </c:pt>
                <c:pt idx="58">
                  <c:v>46</c:v>
                </c:pt>
                <c:pt idx="59">
                  <c:v>47</c:v>
                </c:pt>
                <c:pt idx="60">
                  <c:v>44</c:v>
                </c:pt>
                <c:pt idx="61">
                  <c:v>45</c:v>
                </c:pt>
                <c:pt idx="62">
                  <c:v>44</c:v>
                </c:pt>
                <c:pt idx="63">
                  <c:v>44</c:v>
                </c:pt>
                <c:pt idx="64">
                  <c:v>43</c:v>
                </c:pt>
                <c:pt idx="65">
                  <c:v>38</c:v>
                </c:pt>
                <c:pt idx="66">
                  <c:v>39</c:v>
                </c:pt>
                <c:pt idx="67">
                  <c:v>37</c:v>
                </c:pt>
                <c:pt idx="68">
                  <c:v>42</c:v>
                </c:pt>
                <c:pt idx="69">
                  <c:v>48</c:v>
                </c:pt>
                <c:pt idx="70">
                  <c:v>49</c:v>
                </c:pt>
                <c:pt idx="71">
                  <c:v>47</c:v>
                </c:pt>
                <c:pt idx="72">
                  <c:v>45</c:v>
                </c:pt>
                <c:pt idx="73">
                  <c:v>51</c:v>
                </c:pt>
                <c:pt idx="74">
                  <c:v>51</c:v>
                </c:pt>
                <c:pt idx="75">
                  <c:v>53</c:v>
                </c:pt>
                <c:pt idx="76">
                  <c:v>53</c:v>
                </c:pt>
                <c:pt idx="77">
                  <c:v>52</c:v>
                </c:pt>
                <c:pt idx="78">
                  <c:v>53</c:v>
                </c:pt>
                <c:pt idx="79">
                  <c:v>54</c:v>
                </c:pt>
                <c:pt idx="80">
                  <c:v>57</c:v>
                </c:pt>
                <c:pt idx="81">
                  <c:v>59</c:v>
                </c:pt>
                <c:pt idx="82">
                  <c:v>61</c:v>
                </c:pt>
                <c:pt idx="83">
                  <c:v>60</c:v>
                </c:pt>
                <c:pt idx="84">
                  <c:v>62</c:v>
                </c:pt>
                <c:pt idx="85">
                  <c:v>63</c:v>
                </c:pt>
                <c:pt idx="86">
                  <c:v>69</c:v>
                </c:pt>
                <c:pt idx="87">
                  <c:v>71</c:v>
                </c:pt>
                <c:pt idx="88">
                  <c:v>76</c:v>
                </c:pt>
                <c:pt idx="89">
                  <c:v>79</c:v>
                </c:pt>
                <c:pt idx="90">
                  <c:v>86</c:v>
                </c:pt>
                <c:pt idx="91">
                  <c:v>92</c:v>
                </c:pt>
                <c:pt idx="92">
                  <c:v>94</c:v>
                </c:pt>
                <c:pt idx="93">
                  <c:v>95</c:v>
                </c:pt>
                <c:pt idx="94">
                  <c:v>100</c:v>
                </c:pt>
                <c:pt idx="95">
                  <c:v>106</c:v>
                </c:pt>
                <c:pt idx="96">
                  <c:v>114</c:v>
                </c:pt>
                <c:pt idx="97">
                  <c:v>116</c:v>
                </c:pt>
                <c:pt idx="98">
                  <c:v>117</c:v>
                </c:pt>
                <c:pt idx="99">
                  <c:v>123</c:v>
                </c:pt>
                <c:pt idx="100">
                  <c:v>122</c:v>
                </c:pt>
                <c:pt idx="101">
                  <c:v>130</c:v>
                </c:pt>
                <c:pt idx="102">
                  <c:v>134</c:v>
                </c:pt>
                <c:pt idx="103">
                  <c:v>136</c:v>
                </c:pt>
                <c:pt idx="104">
                  <c:v>137</c:v>
                </c:pt>
                <c:pt idx="105">
                  <c:v>137</c:v>
                </c:pt>
                <c:pt idx="106">
                  <c:v>135</c:v>
                </c:pt>
                <c:pt idx="107">
                  <c:v>146</c:v>
                </c:pt>
                <c:pt idx="108">
                  <c:v>158</c:v>
                </c:pt>
                <c:pt idx="109">
                  <c:v>159</c:v>
                </c:pt>
                <c:pt idx="110">
                  <c:v>169</c:v>
                </c:pt>
                <c:pt idx="111">
                  <c:v>179</c:v>
                </c:pt>
                <c:pt idx="112">
                  <c:v>184</c:v>
                </c:pt>
                <c:pt idx="113">
                  <c:v>187</c:v>
                </c:pt>
                <c:pt idx="114">
                  <c:v>209</c:v>
                </c:pt>
                <c:pt idx="115">
                  <c:v>220</c:v>
                </c:pt>
                <c:pt idx="116">
                  <c:v>236</c:v>
                </c:pt>
                <c:pt idx="117">
                  <c:v>275</c:v>
                </c:pt>
                <c:pt idx="118">
                  <c:v>302</c:v>
                </c:pt>
                <c:pt idx="119">
                  <c:v>331</c:v>
                </c:pt>
                <c:pt idx="120">
                  <c:v>334</c:v>
                </c:pt>
                <c:pt idx="121">
                  <c:v>377</c:v>
                </c:pt>
                <c:pt idx="122">
                  <c:v>423</c:v>
                </c:pt>
                <c:pt idx="123">
                  <c:v>474</c:v>
                </c:pt>
                <c:pt idx="124">
                  <c:v>489</c:v>
                </c:pt>
                <c:pt idx="125">
                  <c:v>548</c:v>
                </c:pt>
                <c:pt idx="126">
                  <c:v>595</c:v>
                </c:pt>
                <c:pt idx="127">
                  <c:v>622</c:v>
                </c:pt>
                <c:pt idx="128">
                  <c:v>684</c:v>
                </c:pt>
                <c:pt idx="129">
                  <c:v>765</c:v>
                </c:pt>
                <c:pt idx="130">
                  <c:v>838</c:v>
                </c:pt>
                <c:pt idx="131">
                  <c:v>881</c:v>
                </c:pt>
                <c:pt idx="132">
                  <c:v>955</c:v>
                </c:pt>
                <c:pt idx="133">
                  <c:v>1011</c:v>
                </c:pt>
                <c:pt idx="134">
                  <c:v>1013</c:v>
                </c:pt>
                <c:pt idx="135">
                  <c:v>1053</c:v>
                </c:pt>
                <c:pt idx="136">
                  <c:v>1132</c:v>
                </c:pt>
                <c:pt idx="137">
                  <c:v>1232</c:v>
                </c:pt>
                <c:pt idx="138">
                  <c:v>1287</c:v>
                </c:pt>
                <c:pt idx="139">
                  <c:v>1354</c:v>
                </c:pt>
                <c:pt idx="140">
                  <c:v>1391</c:v>
                </c:pt>
                <c:pt idx="141">
                  <c:v>1400</c:v>
                </c:pt>
                <c:pt idx="142">
                  <c:v>1433</c:v>
                </c:pt>
                <c:pt idx="143">
                  <c:v>1545</c:v>
                </c:pt>
                <c:pt idx="144">
                  <c:v>1547</c:v>
                </c:pt>
                <c:pt idx="145">
                  <c:v>1601</c:v>
                </c:pt>
                <c:pt idx="146">
                  <c:v>1702</c:v>
                </c:pt>
                <c:pt idx="147">
                  <c:v>1798</c:v>
                </c:pt>
                <c:pt idx="148">
                  <c:v>1843</c:v>
                </c:pt>
                <c:pt idx="149">
                  <c:v>1857</c:v>
                </c:pt>
                <c:pt idx="150">
                  <c:v>1965</c:v>
                </c:pt>
                <c:pt idx="151">
                  <c:v>1952</c:v>
                </c:pt>
                <c:pt idx="152">
                  <c:v>2036</c:v>
                </c:pt>
                <c:pt idx="153">
                  <c:v>2072</c:v>
                </c:pt>
                <c:pt idx="154">
                  <c:v>2110</c:v>
                </c:pt>
                <c:pt idx="155">
                  <c:v>2134</c:v>
                </c:pt>
                <c:pt idx="156">
                  <c:v>2088</c:v>
                </c:pt>
                <c:pt idx="157">
                  <c:v>2061</c:v>
                </c:pt>
                <c:pt idx="158">
                  <c:v>2143</c:v>
                </c:pt>
                <c:pt idx="159">
                  <c:v>2065</c:v>
                </c:pt>
                <c:pt idx="160">
                  <c:v>1964</c:v>
                </c:pt>
                <c:pt idx="161">
                  <c:v>1969</c:v>
                </c:pt>
                <c:pt idx="162">
                  <c:v>1951</c:v>
                </c:pt>
                <c:pt idx="163">
                  <c:v>1812</c:v>
                </c:pt>
                <c:pt idx="164">
                  <c:v>1758</c:v>
                </c:pt>
                <c:pt idx="165">
                  <c:v>1703</c:v>
                </c:pt>
                <c:pt idx="166">
                  <c:v>1672</c:v>
                </c:pt>
                <c:pt idx="167">
                  <c:v>1605</c:v>
                </c:pt>
                <c:pt idx="168">
                  <c:v>1605</c:v>
                </c:pt>
                <c:pt idx="169">
                  <c:v>1592</c:v>
                </c:pt>
                <c:pt idx="170">
                  <c:v>1451</c:v>
                </c:pt>
                <c:pt idx="171">
                  <c:v>1424</c:v>
                </c:pt>
                <c:pt idx="172">
                  <c:v>1364</c:v>
                </c:pt>
                <c:pt idx="173">
                  <c:v>1299</c:v>
                </c:pt>
                <c:pt idx="174">
                  <c:v>1239</c:v>
                </c:pt>
                <c:pt idx="175">
                  <c:v>1226</c:v>
                </c:pt>
                <c:pt idx="176">
                  <c:v>1195</c:v>
                </c:pt>
                <c:pt idx="177">
                  <c:v>1088</c:v>
                </c:pt>
                <c:pt idx="178">
                  <c:v>1034</c:v>
                </c:pt>
                <c:pt idx="179">
                  <c:v>1080</c:v>
                </c:pt>
                <c:pt idx="180">
                  <c:v>1130</c:v>
                </c:pt>
                <c:pt idx="181">
                  <c:v>1144</c:v>
                </c:pt>
                <c:pt idx="182">
                  <c:v>115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7CD-4BA3-857E-B86804E5EE02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Ostatní zdravotničtí pracovníci</c:v>
                </c:pt>
              </c:strCache>
            </c:strRef>
          </c:tx>
          <c:spPr>
            <a:ln w="28575" cap="rnd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-1.3019527064393282E-16"/>
                  <c:y val="-4.6625474630827481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chemeClr val="bg1">
                          <a:lumMod val="50000"/>
                        </a:schemeClr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601304996662368"/>
                      <c:h val="7.5300289757703073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6-37CD-4BA3-857E-B86804E5EE0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B$1</c:f>
              <c:strCache>
                <c:ptCount val="183"/>
                <c:pt idx="0">
                  <c:v>26.06.21</c:v>
                </c:pt>
                <c:pt idx="1">
                  <c:v>27.06.21</c:v>
                </c:pt>
                <c:pt idx="2">
                  <c:v>28.06.21</c:v>
                </c:pt>
                <c:pt idx="3">
                  <c:v>29.06.21</c:v>
                </c:pt>
                <c:pt idx="4">
                  <c:v>30.06.21</c:v>
                </c:pt>
                <c:pt idx="5">
                  <c:v>01.07.21</c:v>
                </c:pt>
                <c:pt idx="6">
                  <c:v>02.07.21</c:v>
                </c:pt>
                <c:pt idx="7">
                  <c:v>03.07.21</c:v>
                </c:pt>
                <c:pt idx="8">
                  <c:v>04.07.21</c:v>
                </c:pt>
                <c:pt idx="9">
                  <c:v>05.07.21</c:v>
                </c:pt>
                <c:pt idx="10">
                  <c:v>06.07.21</c:v>
                </c:pt>
                <c:pt idx="11">
                  <c:v>07.07.21</c:v>
                </c:pt>
                <c:pt idx="12">
                  <c:v>08.07.21</c:v>
                </c:pt>
                <c:pt idx="13">
                  <c:v>09.07.21</c:v>
                </c:pt>
                <c:pt idx="14">
                  <c:v>10.07.21</c:v>
                </c:pt>
                <c:pt idx="15">
                  <c:v>11.07.21</c:v>
                </c:pt>
                <c:pt idx="16">
                  <c:v>12.07.21</c:v>
                </c:pt>
                <c:pt idx="17">
                  <c:v>13.07.21</c:v>
                </c:pt>
                <c:pt idx="18">
                  <c:v>14.07.21</c:v>
                </c:pt>
                <c:pt idx="19">
                  <c:v>15.07.21</c:v>
                </c:pt>
                <c:pt idx="20">
                  <c:v>16.07.21</c:v>
                </c:pt>
                <c:pt idx="21">
                  <c:v>17.07.21</c:v>
                </c:pt>
                <c:pt idx="22">
                  <c:v>18.07.21</c:v>
                </c:pt>
                <c:pt idx="23">
                  <c:v>19.07.21</c:v>
                </c:pt>
                <c:pt idx="24">
                  <c:v>20.07.21</c:v>
                </c:pt>
                <c:pt idx="25">
                  <c:v>21.07.21</c:v>
                </c:pt>
                <c:pt idx="26">
                  <c:v>22.07.21</c:v>
                </c:pt>
                <c:pt idx="27">
                  <c:v>23.07.21</c:v>
                </c:pt>
                <c:pt idx="28">
                  <c:v>24.07.21</c:v>
                </c:pt>
                <c:pt idx="29">
                  <c:v>25.07.21</c:v>
                </c:pt>
                <c:pt idx="30">
                  <c:v>26.07.21</c:v>
                </c:pt>
                <c:pt idx="31">
                  <c:v>27.07.21</c:v>
                </c:pt>
                <c:pt idx="32">
                  <c:v>28.07.21</c:v>
                </c:pt>
                <c:pt idx="33">
                  <c:v>29.07.21</c:v>
                </c:pt>
                <c:pt idx="34">
                  <c:v>30.07.21</c:v>
                </c:pt>
                <c:pt idx="35">
                  <c:v>31.07.21</c:v>
                </c:pt>
                <c:pt idx="36">
                  <c:v>01.08.21</c:v>
                </c:pt>
                <c:pt idx="37">
                  <c:v>02.08.21</c:v>
                </c:pt>
                <c:pt idx="38">
                  <c:v>03.08.21</c:v>
                </c:pt>
                <c:pt idx="39">
                  <c:v>04.08.21</c:v>
                </c:pt>
                <c:pt idx="40">
                  <c:v>05.08.21</c:v>
                </c:pt>
                <c:pt idx="41">
                  <c:v>06.08.21</c:v>
                </c:pt>
                <c:pt idx="42">
                  <c:v>07.08.21</c:v>
                </c:pt>
                <c:pt idx="43">
                  <c:v>08.08.21</c:v>
                </c:pt>
                <c:pt idx="44">
                  <c:v>09.08.21</c:v>
                </c:pt>
                <c:pt idx="45">
                  <c:v>10.08.21</c:v>
                </c:pt>
                <c:pt idx="46">
                  <c:v>11.08.21</c:v>
                </c:pt>
                <c:pt idx="47">
                  <c:v>12.08.21</c:v>
                </c:pt>
                <c:pt idx="48">
                  <c:v>13.08.21</c:v>
                </c:pt>
                <c:pt idx="49">
                  <c:v>14.08.21</c:v>
                </c:pt>
                <c:pt idx="50">
                  <c:v>15.08.21</c:v>
                </c:pt>
                <c:pt idx="51">
                  <c:v>16.08.21</c:v>
                </c:pt>
                <c:pt idx="52">
                  <c:v>17.08.21</c:v>
                </c:pt>
                <c:pt idx="53">
                  <c:v>18.08.21</c:v>
                </c:pt>
                <c:pt idx="54">
                  <c:v>19.08.21</c:v>
                </c:pt>
                <c:pt idx="55">
                  <c:v>20.08.21</c:v>
                </c:pt>
                <c:pt idx="56">
                  <c:v>21.08.21</c:v>
                </c:pt>
                <c:pt idx="57">
                  <c:v>22.08.21</c:v>
                </c:pt>
                <c:pt idx="58">
                  <c:v>23.08.21</c:v>
                </c:pt>
                <c:pt idx="59">
                  <c:v>24.08.21</c:v>
                </c:pt>
                <c:pt idx="60">
                  <c:v>25.08.21</c:v>
                </c:pt>
                <c:pt idx="61">
                  <c:v>26.08.21</c:v>
                </c:pt>
                <c:pt idx="62">
                  <c:v>27.08.21</c:v>
                </c:pt>
                <c:pt idx="63">
                  <c:v>28.08.21</c:v>
                </c:pt>
                <c:pt idx="64">
                  <c:v>29.08.21</c:v>
                </c:pt>
                <c:pt idx="65">
                  <c:v>30.08.21</c:v>
                </c:pt>
                <c:pt idx="66">
                  <c:v>31.08.21</c:v>
                </c:pt>
                <c:pt idx="67">
                  <c:v>01.09.21</c:v>
                </c:pt>
                <c:pt idx="68">
                  <c:v>02.09.21</c:v>
                </c:pt>
                <c:pt idx="69">
                  <c:v>03.09.21</c:v>
                </c:pt>
                <c:pt idx="70">
                  <c:v>04.09.21</c:v>
                </c:pt>
                <c:pt idx="71">
                  <c:v>05.09.21</c:v>
                </c:pt>
                <c:pt idx="72">
                  <c:v>06.09.21</c:v>
                </c:pt>
                <c:pt idx="73">
                  <c:v>07.09.21</c:v>
                </c:pt>
                <c:pt idx="74">
                  <c:v>08.09.21</c:v>
                </c:pt>
                <c:pt idx="75">
                  <c:v>09.09.21</c:v>
                </c:pt>
                <c:pt idx="76">
                  <c:v>10.09.21</c:v>
                </c:pt>
                <c:pt idx="77">
                  <c:v>11.09.21</c:v>
                </c:pt>
                <c:pt idx="78">
                  <c:v>12.09.21</c:v>
                </c:pt>
                <c:pt idx="79">
                  <c:v>13.09.21</c:v>
                </c:pt>
                <c:pt idx="80">
                  <c:v>14.09.21</c:v>
                </c:pt>
                <c:pt idx="81">
                  <c:v>15.09.21</c:v>
                </c:pt>
                <c:pt idx="82">
                  <c:v>16.09.21</c:v>
                </c:pt>
                <c:pt idx="83">
                  <c:v>17.09.21</c:v>
                </c:pt>
                <c:pt idx="84">
                  <c:v>18.09.21</c:v>
                </c:pt>
                <c:pt idx="85">
                  <c:v>19.09.21</c:v>
                </c:pt>
                <c:pt idx="86">
                  <c:v>20.09.21</c:v>
                </c:pt>
                <c:pt idx="87">
                  <c:v>21.09.21</c:v>
                </c:pt>
                <c:pt idx="88">
                  <c:v>22.09.21</c:v>
                </c:pt>
                <c:pt idx="89">
                  <c:v>23.09.21</c:v>
                </c:pt>
                <c:pt idx="90">
                  <c:v>24.09.21</c:v>
                </c:pt>
                <c:pt idx="91">
                  <c:v>25.09.21</c:v>
                </c:pt>
                <c:pt idx="92">
                  <c:v>26.09.21</c:v>
                </c:pt>
                <c:pt idx="93">
                  <c:v>27.09.21</c:v>
                </c:pt>
                <c:pt idx="94">
                  <c:v>28.09.21</c:v>
                </c:pt>
                <c:pt idx="95">
                  <c:v>29.09.21</c:v>
                </c:pt>
                <c:pt idx="96">
                  <c:v>30.09.21</c:v>
                </c:pt>
                <c:pt idx="97">
                  <c:v>01.10.21</c:v>
                </c:pt>
                <c:pt idx="98">
                  <c:v>02.10.21</c:v>
                </c:pt>
                <c:pt idx="99">
                  <c:v>03.10.21</c:v>
                </c:pt>
                <c:pt idx="100">
                  <c:v>04.10.21</c:v>
                </c:pt>
                <c:pt idx="101">
                  <c:v>05.10.21</c:v>
                </c:pt>
                <c:pt idx="102">
                  <c:v>06.10.21</c:v>
                </c:pt>
                <c:pt idx="103">
                  <c:v>07.10.21</c:v>
                </c:pt>
                <c:pt idx="104">
                  <c:v>08.10.21</c:v>
                </c:pt>
                <c:pt idx="105">
                  <c:v>09.10.21</c:v>
                </c:pt>
                <c:pt idx="106">
                  <c:v>10.10.21</c:v>
                </c:pt>
                <c:pt idx="107">
                  <c:v>11.10.21</c:v>
                </c:pt>
                <c:pt idx="108">
                  <c:v>12.10.21</c:v>
                </c:pt>
                <c:pt idx="109">
                  <c:v>13.10.21</c:v>
                </c:pt>
                <c:pt idx="110">
                  <c:v>14.10.21</c:v>
                </c:pt>
                <c:pt idx="111">
                  <c:v>15.10.21</c:v>
                </c:pt>
                <c:pt idx="112">
                  <c:v>16.10.21</c:v>
                </c:pt>
                <c:pt idx="113">
                  <c:v>17.10.21</c:v>
                </c:pt>
                <c:pt idx="114">
                  <c:v>18.10.21</c:v>
                </c:pt>
                <c:pt idx="115">
                  <c:v>19.10.21</c:v>
                </c:pt>
                <c:pt idx="116">
                  <c:v>20.10.21</c:v>
                </c:pt>
                <c:pt idx="117">
                  <c:v>21.10.21</c:v>
                </c:pt>
                <c:pt idx="118">
                  <c:v>22.10.21</c:v>
                </c:pt>
                <c:pt idx="119">
                  <c:v>23.10.21</c:v>
                </c:pt>
                <c:pt idx="120">
                  <c:v>24.10.21</c:v>
                </c:pt>
                <c:pt idx="121">
                  <c:v>25.10.21</c:v>
                </c:pt>
                <c:pt idx="122">
                  <c:v>26.10.21</c:v>
                </c:pt>
                <c:pt idx="123">
                  <c:v>27.10.21</c:v>
                </c:pt>
                <c:pt idx="124">
                  <c:v>28.10.21</c:v>
                </c:pt>
                <c:pt idx="125">
                  <c:v>29.10.21</c:v>
                </c:pt>
                <c:pt idx="126">
                  <c:v>30.10.21</c:v>
                </c:pt>
                <c:pt idx="127">
                  <c:v>31.10.21</c:v>
                </c:pt>
                <c:pt idx="128">
                  <c:v>01.11.21</c:v>
                </c:pt>
                <c:pt idx="129">
                  <c:v>02.11.21</c:v>
                </c:pt>
                <c:pt idx="130">
                  <c:v>03.11.21</c:v>
                </c:pt>
                <c:pt idx="131">
                  <c:v>04.11.21</c:v>
                </c:pt>
                <c:pt idx="132">
                  <c:v>05.11.21</c:v>
                </c:pt>
                <c:pt idx="133">
                  <c:v>06.11.21</c:v>
                </c:pt>
                <c:pt idx="134">
                  <c:v>07.11.21</c:v>
                </c:pt>
                <c:pt idx="135">
                  <c:v>08.11.21</c:v>
                </c:pt>
                <c:pt idx="136">
                  <c:v>09.11.21</c:v>
                </c:pt>
                <c:pt idx="137">
                  <c:v>10.11.21</c:v>
                </c:pt>
                <c:pt idx="138">
                  <c:v>11.11.21</c:v>
                </c:pt>
                <c:pt idx="139">
                  <c:v>12.11.21</c:v>
                </c:pt>
                <c:pt idx="140">
                  <c:v>13.11.21</c:v>
                </c:pt>
                <c:pt idx="141">
                  <c:v>14.11.21</c:v>
                </c:pt>
                <c:pt idx="142">
                  <c:v>15.11.21</c:v>
                </c:pt>
                <c:pt idx="143">
                  <c:v>16.11.21</c:v>
                </c:pt>
                <c:pt idx="144">
                  <c:v>17.11.21</c:v>
                </c:pt>
                <c:pt idx="145">
                  <c:v>18.11.21</c:v>
                </c:pt>
                <c:pt idx="146">
                  <c:v>19.11.21</c:v>
                </c:pt>
                <c:pt idx="147">
                  <c:v>20.11.21</c:v>
                </c:pt>
                <c:pt idx="148">
                  <c:v>21.11.21</c:v>
                </c:pt>
                <c:pt idx="149">
                  <c:v>22.11.21</c:v>
                </c:pt>
                <c:pt idx="150">
                  <c:v>23.11.21</c:v>
                </c:pt>
                <c:pt idx="151">
                  <c:v>24.11.21</c:v>
                </c:pt>
                <c:pt idx="152">
                  <c:v>25.11.21</c:v>
                </c:pt>
                <c:pt idx="153">
                  <c:v>26.11.21</c:v>
                </c:pt>
                <c:pt idx="154">
                  <c:v>27.11.21</c:v>
                </c:pt>
                <c:pt idx="155">
                  <c:v>28.11.21</c:v>
                </c:pt>
                <c:pt idx="156">
                  <c:v>29.11.21</c:v>
                </c:pt>
                <c:pt idx="157">
                  <c:v>30.11.21</c:v>
                </c:pt>
                <c:pt idx="158">
                  <c:v>01.12.21</c:v>
                </c:pt>
                <c:pt idx="159">
                  <c:v>02.12.21</c:v>
                </c:pt>
                <c:pt idx="160">
                  <c:v>03.12.21</c:v>
                </c:pt>
                <c:pt idx="161">
                  <c:v>04.12.21</c:v>
                </c:pt>
                <c:pt idx="162">
                  <c:v>05.12.21</c:v>
                </c:pt>
                <c:pt idx="163">
                  <c:v>06.12.21</c:v>
                </c:pt>
                <c:pt idx="164">
                  <c:v>07.12.21</c:v>
                </c:pt>
                <c:pt idx="165">
                  <c:v>08.12.21</c:v>
                </c:pt>
                <c:pt idx="166">
                  <c:v>09.12.21</c:v>
                </c:pt>
                <c:pt idx="167">
                  <c:v>10.12.21</c:v>
                </c:pt>
                <c:pt idx="168">
                  <c:v>11.12.21</c:v>
                </c:pt>
                <c:pt idx="169">
                  <c:v>12.12.21</c:v>
                </c:pt>
                <c:pt idx="170">
                  <c:v>13.12.21</c:v>
                </c:pt>
                <c:pt idx="171">
                  <c:v>14.12.21</c:v>
                </c:pt>
                <c:pt idx="172">
                  <c:v>15.12.21</c:v>
                </c:pt>
                <c:pt idx="173">
                  <c:v>16.12.21</c:v>
                </c:pt>
                <c:pt idx="174">
                  <c:v>17.12.21</c:v>
                </c:pt>
                <c:pt idx="175">
                  <c:v>18.12.21</c:v>
                </c:pt>
                <c:pt idx="176">
                  <c:v>19.12.21</c:v>
                </c:pt>
                <c:pt idx="177">
                  <c:v>20.12.21</c:v>
                </c:pt>
                <c:pt idx="178">
                  <c:v>21.12.21</c:v>
                </c:pt>
                <c:pt idx="179">
                  <c:v>22.12.21</c:v>
                </c:pt>
                <c:pt idx="180">
                  <c:v>23.12.21</c:v>
                </c:pt>
                <c:pt idx="181">
                  <c:v>24.12.21</c:v>
                </c:pt>
                <c:pt idx="182">
                  <c:v>25.12.21</c:v>
                </c:pt>
              </c:strCache>
            </c:strRef>
          </c:cat>
          <c:val>
            <c:numRef>
              <c:f>List1!$B$4:$GB$4</c:f>
              <c:numCache>
                <c:formatCode>General</c:formatCode>
                <c:ptCount val="183"/>
                <c:pt idx="0">
                  <c:v>27</c:v>
                </c:pt>
                <c:pt idx="1">
                  <c:v>29</c:v>
                </c:pt>
                <c:pt idx="2">
                  <c:v>29</c:v>
                </c:pt>
                <c:pt idx="3">
                  <c:v>30</c:v>
                </c:pt>
                <c:pt idx="4">
                  <c:v>30</c:v>
                </c:pt>
                <c:pt idx="5">
                  <c:v>29</c:v>
                </c:pt>
                <c:pt idx="6">
                  <c:v>30</c:v>
                </c:pt>
                <c:pt idx="7">
                  <c:v>28</c:v>
                </c:pt>
                <c:pt idx="8">
                  <c:v>28</c:v>
                </c:pt>
                <c:pt idx="9">
                  <c:v>28</c:v>
                </c:pt>
                <c:pt idx="10">
                  <c:v>27</c:v>
                </c:pt>
                <c:pt idx="11">
                  <c:v>27</c:v>
                </c:pt>
                <c:pt idx="12">
                  <c:v>31</c:v>
                </c:pt>
                <c:pt idx="13">
                  <c:v>34</c:v>
                </c:pt>
                <c:pt idx="14">
                  <c:v>33</c:v>
                </c:pt>
                <c:pt idx="15">
                  <c:v>32</c:v>
                </c:pt>
                <c:pt idx="16">
                  <c:v>34</c:v>
                </c:pt>
                <c:pt idx="17">
                  <c:v>34</c:v>
                </c:pt>
                <c:pt idx="18">
                  <c:v>38</c:v>
                </c:pt>
                <c:pt idx="19">
                  <c:v>40</c:v>
                </c:pt>
                <c:pt idx="20">
                  <c:v>44</c:v>
                </c:pt>
                <c:pt idx="21">
                  <c:v>45</c:v>
                </c:pt>
                <c:pt idx="22">
                  <c:v>46</c:v>
                </c:pt>
                <c:pt idx="23">
                  <c:v>49</c:v>
                </c:pt>
                <c:pt idx="24">
                  <c:v>54</c:v>
                </c:pt>
                <c:pt idx="25">
                  <c:v>53</c:v>
                </c:pt>
                <c:pt idx="26">
                  <c:v>52</c:v>
                </c:pt>
                <c:pt idx="27">
                  <c:v>51</c:v>
                </c:pt>
                <c:pt idx="28">
                  <c:v>51</c:v>
                </c:pt>
                <c:pt idx="29">
                  <c:v>52</c:v>
                </c:pt>
                <c:pt idx="30">
                  <c:v>53</c:v>
                </c:pt>
                <c:pt idx="31">
                  <c:v>57</c:v>
                </c:pt>
                <c:pt idx="32">
                  <c:v>54</c:v>
                </c:pt>
                <c:pt idx="33">
                  <c:v>53</c:v>
                </c:pt>
                <c:pt idx="34">
                  <c:v>51</c:v>
                </c:pt>
                <c:pt idx="35">
                  <c:v>51</c:v>
                </c:pt>
                <c:pt idx="36">
                  <c:v>49</c:v>
                </c:pt>
                <c:pt idx="37">
                  <c:v>47</c:v>
                </c:pt>
                <c:pt idx="38">
                  <c:v>49</c:v>
                </c:pt>
                <c:pt idx="39">
                  <c:v>51</c:v>
                </c:pt>
                <c:pt idx="40">
                  <c:v>47</c:v>
                </c:pt>
                <c:pt idx="41">
                  <c:v>48</c:v>
                </c:pt>
                <c:pt idx="42">
                  <c:v>47</c:v>
                </c:pt>
                <c:pt idx="43">
                  <c:v>45</c:v>
                </c:pt>
                <c:pt idx="44">
                  <c:v>48</c:v>
                </c:pt>
                <c:pt idx="45">
                  <c:v>47</c:v>
                </c:pt>
                <c:pt idx="46">
                  <c:v>47</c:v>
                </c:pt>
                <c:pt idx="47">
                  <c:v>46</c:v>
                </c:pt>
                <c:pt idx="48">
                  <c:v>51</c:v>
                </c:pt>
                <c:pt idx="49">
                  <c:v>52</c:v>
                </c:pt>
                <c:pt idx="50">
                  <c:v>52</c:v>
                </c:pt>
                <c:pt idx="51">
                  <c:v>50</c:v>
                </c:pt>
                <c:pt idx="52">
                  <c:v>47</c:v>
                </c:pt>
                <c:pt idx="53">
                  <c:v>46</c:v>
                </c:pt>
                <c:pt idx="54">
                  <c:v>44</c:v>
                </c:pt>
                <c:pt idx="55">
                  <c:v>46</c:v>
                </c:pt>
                <c:pt idx="56">
                  <c:v>47</c:v>
                </c:pt>
                <c:pt idx="57">
                  <c:v>48</c:v>
                </c:pt>
                <c:pt idx="58">
                  <c:v>45</c:v>
                </c:pt>
                <c:pt idx="59">
                  <c:v>46</c:v>
                </c:pt>
                <c:pt idx="60">
                  <c:v>50</c:v>
                </c:pt>
                <c:pt idx="61">
                  <c:v>48</c:v>
                </c:pt>
                <c:pt idx="62">
                  <c:v>47</c:v>
                </c:pt>
                <c:pt idx="63">
                  <c:v>45</c:v>
                </c:pt>
                <c:pt idx="64">
                  <c:v>46</c:v>
                </c:pt>
                <c:pt idx="65">
                  <c:v>44</c:v>
                </c:pt>
                <c:pt idx="66">
                  <c:v>45</c:v>
                </c:pt>
                <c:pt idx="67">
                  <c:v>47</c:v>
                </c:pt>
                <c:pt idx="68">
                  <c:v>51</c:v>
                </c:pt>
                <c:pt idx="69">
                  <c:v>53</c:v>
                </c:pt>
                <c:pt idx="70">
                  <c:v>56</c:v>
                </c:pt>
                <c:pt idx="71">
                  <c:v>55</c:v>
                </c:pt>
                <c:pt idx="72">
                  <c:v>59</c:v>
                </c:pt>
                <c:pt idx="73">
                  <c:v>60</c:v>
                </c:pt>
                <c:pt idx="74">
                  <c:v>57</c:v>
                </c:pt>
                <c:pt idx="75">
                  <c:v>56</c:v>
                </c:pt>
                <c:pt idx="76">
                  <c:v>58</c:v>
                </c:pt>
                <c:pt idx="77">
                  <c:v>57</c:v>
                </c:pt>
                <c:pt idx="78">
                  <c:v>60</c:v>
                </c:pt>
                <c:pt idx="79">
                  <c:v>61</c:v>
                </c:pt>
                <c:pt idx="80">
                  <c:v>61</c:v>
                </c:pt>
                <c:pt idx="81">
                  <c:v>65</c:v>
                </c:pt>
                <c:pt idx="82">
                  <c:v>68</c:v>
                </c:pt>
                <c:pt idx="83">
                  <c:v>66</c:v>
                </c:pt>
                <c:pt idx="84">
                  <c:v>65</c:v>
                </c:pt>
                <c:pt idx="85">
                  <c:v>68</c:v>
                </c:pt>
                <c:pt idx="86">
                  <c:v>69</c:v>
                </c:pt>
                <c:pt idx="87">
                  <c:v>76</c:v>
                </c:pt>
                <c:pt idx="88">
                  <c:v>83</c:v>
                </c:pt>
                <c:pt idx="89">
                  <c:v>85</c:v>
                </c:pt>
                <c:pt idx="90">
                  <c:v>88</c:v>
                </c:pt>
                <c:pt idx="91">
                  <c:v>91</c:v>
                </c:pt>
                <c:pt idx="92">
                  <c:v>90</c:v>
                </c:pt>
                <c:pt idx="93">
                  <c:v>93</c:v>
                </c:pt>
                <c:pt idx="94">
                  <c:v>98</c:v>
                </c:pt>
                <c:pt idx="95">
                  <c:v>99</c:v>
                </c:pt>
                <c:pt idx="96">
                  <c:v>104</c:v>
                </c:pt>
                <c:pt idx="97">
                  <c:v>107</c:v>
                </c:pt>
                <c:pt idx="98">
                  <c:v>109</c:v>
                </c:pt>
                <c:pt idx="99">
                  <c:v>111</c:v>
                </c:pt>
                <c:pt idx="100">
                  <c:v>113</c:v>
                </c:pt>
                <c:pt idx="101">
                  <c:v>115</c:v>
                </c:pt>
                <c:pt idx="102">
                  <c:v>124</c:v>
                </c:pt>
                <c:pt idx="103">
                  <c:v>130</c:v>
                </c:pt>
                <c:pt idx="104">
                  <c:v>135</c:v>
                </c:pt>
                <c:pt idx="105">
                  <c:v>140</c:v>
                </c:pt>
                <c:pt idx="106">
                  <c:v>142</c:v>
                </c:pt>
                <c:pt idx="107">
                  <c:v>151</c:v>
                </c:pt>
                <c:pt idx="108">
                  <c:v>180</c:v>
                </c:pt>
                <c:pt idx="109">
                  <c:v>186</c:v>
                </c:pt>
                <c:pt idx="110">
                  <c:v>194</c:v>
                </c:pt>
                <c:pt idx="111">
                  <c:v>198</c:v>
                </c:pt>
                <c:pt idx="112">
                  <c:v>204</c:v>
                </c:pt>
                <c:pt idx="113">
                  <c:v>208</c:v>
                </c:pt>
                <c:pt idx="114">
                  <c:v>235</c:v>
                </c:pt>
                <c:pt idx="115">
                  <c:v>275</c:v>
                </c:pt>
                <c:pt idx="116">
                  <c:v>312</c:v>
                </c:pt>
                <c:pt idx="117">
                  <c:v>351</c:v>
                </c:pt>
                <c:pt idx="118">
                  <c:v>382</c:v>
                </c:pt>
                <c:pt idx="119">
                  <c:v>405</c:v>
                </c:pt>
                <c:pt idx="120">
                  <c:v>418</c:v>
                </c:pt>
                <c:pt idx="121">
                  <c:v>466</c:v>
                </c:pt>
                <c:pt idx="122">
                  <c:v>520</c:v>
                </c:pt>
                <c:pt idx="123">
                  <c:v>569</c:v>
                </c:pt>
                <c:pt idx="124">
                  <c:v>592</c:v>
                </c:pt>
                <c:pt idx="125">
                  <c:v>657</c:v>
                </c:pt>
                <c:pt idx="126">
                  <c:v>700</c:v>
                </c:pt>
                <c:pt idx="127">
                  <c:v>729</c:v>
                </c:pt>
                <c:pt idx="128">
                  <c:v>802</c:v>
                </c:pt>
                <c:pt idx="129">
                  <c:v>875</c:v>
                </c:pt>
                <c:pt idx="130">
                  <c:v>936</c:v>
                </c:pt>
                <c:pt idx="131">
                  <c:v>989</c:v>
                </c:pt>
                <c:pt idx="132">
                  <c:v>1076</c:v>
                </c:pt>
                <c:pt idx="133">
                  <c:v>1104</c:v>
                </c:pt>
                <c:pt idx="134">
                  <c:v>1106</c:v>
                </c:pt>
                <c:pt idx="135">
                  <c:v>1139</c:v>
                </c:pt>
                <c:pt idx="136">
                  <c:v>1211</c:v>
                </c:pt>
                <c:pt idx="137">
                  <c:v>1287</c:v>
                </c:pt>
                <c:pt idx="138">
                  <c:v>1373</c:v>
                </c:pt>
                <c:pt idx="139">
                  <c:v>1435</c:v>
                </c:pt>
                <c:pt idx="140">
                  <c:v>1483</c:v>
                </c:pt>
                <c:pt idx="141">
                  <c:v>1493</c:v>
                </c:pt>
                <c:pt idx="142">
                  <c:v>1480</c:v>
                </c:pt>
                <c:pt idx="143">
                  <c:v>1552</c:v>
                </c:pt>
                <c:pt idx="144">
                  <c:v>1604</c:v>
                </c:pt>
                <c:pt idx="145">
                  <c:v>1650</c:v>
                </c:pt>
                <c:pt idx="146">
                  <c:v>1780</c:v>
                </c:pt>
                <c:pt idx="147">
                  <c:v>1860</c:v>
                </c:pt>
                <c:pt idx="148">
                  <c:v>1907</c:v>
                </c:pt>
                <c:pt idx="149">
                  <c:v>1941</c:v>
                </c:pt>
                <c:pt idx="150">
                  <c:v>1991</c:v>
                </c:pt>
                <c:pt idx="151">
                  <c:v>2033</c:v>
                </c:pt>
                <c:pt idx="152">
                  <c:v>2150</c:v>
                </c:pt>
                <c:pt idx="153">
                  <c:v>2135</c:v>
                </c:pt>
                <c:pt idx="154">
                  <c:v>2184</c:v>
                </c:pt>
                <c:pt idx="155">
                  <c:v>2206</c:v>
                </c:pt>
                <c:pt idx="156">
                  <c:v>2176</c:v>
                </c:pt>
                <c:pt idx="157">
                  <c:v>2158</c:v>
                </c:pt>
                <c:pt idx="158">
                  <c:v>2246</c:v>
                </c:pt>
                <c:pt idx="159">
                  <c:v>2148</c:v>
                </c:pt>
                <c:pt idx="160">
                  <c:v>2083</c:v>
                </c:pt>
                <c:pt idx="161">
                  <c:v>2086</c:v>
                </c:pt>
                <c:pt idx="162">
                  <c:v>2062</c:v>
                </c:pt>
                <c:pt idx="163">
                  <c:v>1979</c:v>
                </c:pt>
                <c:pt idx="164">
                  <c:v>1938</c:v>
                </c:pt>
                <c:pt idx="165">
                  <c:v>1878</c:v>
                </c:pt>
                <c:pt idx="166">
                  <c:v>1812</c:v>
                </c:pt>
                <c:pt idx="167">
                  <c:v>1745</c:v>
                </c:pt>
                <c:pt idx="168">
                  <c:v>1745</c:v>
                </c:pt>
                <c:pt idx="169">
                  <c:v>1720</c:v>
                </c:pt>
                <c:pt idx="170">
                  <c:v>1598</c:v>
                </c:pt>
                <c:pt idx="171">
                  <c:v>1590</c:v>
                </c:pt>
                <c:pt idx="172">
                  <c:v>1555</c:v>
                </c:pt>
                <c:pt idx="173">
                  <c:v>1492</c:v>
                </c:pt>
                <c:pt idx="174">
                  <c:v>1439</c:v>
                </c:pt>
                <c:pt idx="175">
                  <c:v>1435</c:v>
                </c:pt>
                <c:pt idx="176">
                  <c:v>1405</c:v>
                </c:pt>
                <c:pt idx="177">
                  <c:v>1280</c:v>
                </c:pt>
                <c:pt idx="178">
                  <c:v>1217</c:v>
                </c:pt>
                <c:pt idx="179">
                  <c:v>1258</c:v>
                </c:pt>
                <c:pt idx="180">
                  <c:v>1305</c:v>
                </c:pt>
                <c:pt idx="181">
                  <c:v>1314</c:v>
                </c:pt>
                <c:pt idx="182">
                  <c:v>13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37CD-4BA3-857E-B86804E5EE0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04314152"/>
        <c:axId val="604312192"/>
      </c:lineChart>
      <c:catAx>
        <c:axId val="604314152"/>
        <c:scaling>
          <c:orientation val="minMax"/>
        </c:scaling>
        <c:delete val="0"/>
        <c:axPos val="b"/>
        <c:numFmt formatCode="dd/mm/yy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604312192"/>
        <c:crosses val="autoZero"/>
        <c:auto val="1"/>
        <c:lblAlgn val="ctr"/>
        <c:lblOffset val="100"/>
        <c:tickLblSkip val="7"/>
        <c:noMultiLvlLbl val="0"/>
      </c:catAx>
      <c:valAx>
        <c:axId val="604312192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6043141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pPr>
      <a:endParaRPr lang="cs-CZ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714648495541371E-2"/>
          <c:y val="0.11530977652557951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dLbl>
              <c:idx val="13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5A3F-421B-A24A-264CC3DD701B}"/>
                </c:ext>
              </c:extLst>
            </c:dLbl>
            <c:dLbl>
              <c:idx val="13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B487-4B41-A7BA-23E0663C99CB}"/>
                </c:ext>
              </c:extLst>
            </c:dLbl>
            <c:dLbl>
              <c:idx val="13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487-4B41-A7BA-23E0663C99CB}"/>
                </c:ext>
              </c:extLst>
            </c:dLbl>
            <c:dLbl>
              <c:idx val="13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5A3F-421B-A24A-264CC3DD701B}"/>
                </c:ext>
              </c:extLst>
            </c:dLbl>
            <c:dLbl>
              <c:idx val="13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B487-4B41-A7BA-23E0663C99CB}"/>
                </c:ext>
              </c:extLst>
            </c:dLbl>
            <c:dLbl>
              <c:idx val="14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5A3F-421B-A24A-264CC3DD701B}"/>
                </c:ext>
              </c:extLst>
            </c:dLbl>
            <c:dLbl>
              <c:idx val="14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B487-4B41-A7BA-23E0663C99CB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35:$A$321</c:f>
              <c:numCache>
                <c:formatCode>m/d/yyyy</c:formatCode>
                <c:ptCount val="187"/>
                <c:pt idx="0">
                  <c:v>44364</c:v>
                </c:pt>
                <c:pt idx="1">
                  <c:v>44365</c:v>
                </c:pt>
                <c:pt idx="2">
                  <c:v>44366</c:v>
                </c:pt>
                <c:pt idx="3">
                  <c:v>44367</c:v>
                </c:pt>
                <c:pt idx="4">
                  <c:v>44369</c:v>
                </c:pt>
                <c:pt idx="5">
                  <c:v>44370</c:v>
                </c:pt>
                <c:pt idx="6">
                  <c:v>44371</c:v>
                </c:pt>
                <c:pt idx="7">
                  <c:v>44373</c:v>
                </c:pt>
                <c:pt idx="8">
                  <c:v>44374</c:v>
                </c:pt>
                <c:pt idx="9">
                  <c:v>44375</c:v>
                </c:pt>
                <c:pt idx="10">
                  <c:v>44376</c:v>
                </c:pt>
                <c:pt idx="11">
                  <c:v>44378</c:v>
                </c:pt>
                <c:pt idx="12">
                  <c:v>44379</c:v>
                </c:pt>
                <c:pt idx="13">
                  <c:v>44381</c:v>
                </c:pt>
                <c:pt idx="14">
                  <c:v>44382</c:v>
                </c:pt>
                <c:pt idx="15">
                  <c:v>44383</c:v>
                </c:pt>
                <c:pt idx="16">
                  <c:v>44384</c:v>
                </c:pt>
                <c:pt idx="17">
                  <c:v>44385</c:v>
                </c:pt>
                <c:pt idx="18">
                  <c:v>44386</c:v>
                </c:pt>
                <c:pt idx="19">
                  <c:v>44387</c:v>
                </c:pt>
                <c:pt idx="20">
                  <c:v>44389</c:v>
                </c:pt>
                <c:pt idx="21">
                  <c:v>44390</c:v>
                </c:pt>
                <c:pt idx="22">
                  <c:v>44391</c:v>
                </c:pt>
                <c:pt idx="23">
                  <c:v>44392</c:v>
                </c:pt>
                <c:pt idx="24">
                  <c:v>44393</c:v>
                </c:pt>
                <c:pt idx="25">
                  <c:v>44394</c:v>
                </c:pt>
                <c:pt idx="26">
                  <c:v>44395</c:v>
                </c:pt>
                <c:pt idx="27">
                  <c:v>44396</c:v>
                </c:pt>
                <c:pt idx="28">
                  <c:v>44397</c:v>
                </c:pt>
                <c:pt idx="29">
                  <c:v>44398</c:v>
                </c:pt>
                <c:pt idx="30">
                  <c:v>44399</c:v>
                </c:pt>
                <c:pt idx="31">
                  <c:v>44400</c:v>
                </c:pt>
                <c:pt idx="32">
                  <c:v>44401</c:v>
                </c:pt>
                <c:pt idx="33">
                  <c:v>44402</c:v>
                </c:pt>
                <c:pt idx="34">
                  <c:v>44403</c:v>
                </c:pt>
                <c:pt idx="35">
                  <c:v>44404</c:v>
                </c:pt>
                <c:pt idx="36">
                  <c:v>44405</c:v>
                </c:pt>
                <c:pt idx="37">
                  <c:v>44406</c:v>
                </c:pt>
                <c:pt idx="38">
                  <c:v>44407</c:v>
                </c:pt>
                <c:pt idx="39">
                  <c:v>44408</c:v>
                </c:pt>
                <c:pt idx="40">
                  <c:v>44409</c:v>
                </c:pt>
                <c:pt idx="41">
                  <c:v>44410</c:v>
                </c:pt>
                <c:pt idx="42">
                  <c:v>44411</c:v>
                </c:pt>
                <c:pt idx="43">
                  <c:v>44412</c:v>
                </c:pt>
                <c:pt idx="44">
                  <c:v>44413</c:v>
                </c:pt>
                <c:pt idx="45">
                  <c:v>44414</c:v>
                </c:pt>
                <c:pt idx="46">
                  <c:v>44415</c:v>
                </c:pt>
                <c:pt idx="47">
                  <c:v>44416</c:v>
                </c:pt>
                <c:pt idx="48">
                  <c:v>44417</c:v>
                </c:pt>
                <c:pt idx="49">
                  <c:v>44418</c:v>
                </c:pt>
                <c:pt idx="50">
                  <c:v>44419</c:v>
                </c:pt>
                <c:pt idx="51">
                  <c:v>44420</c:v>
                </c:pt>
                <c:pt idx="52">
                  <c:v>44421</c:v>
                </c:pt>
                <c:pt idx="53">
                  <c:v>44422</c:v>
                </c:pt>
                <c:pt idx="54">
                  <c:v>44423</c:v>
                </c:pt>
                <c:pt idx="55">
                  <c:v>44424</c:v>
                </c:pt>
                <c:pt idx="56">
                  <c:v>44425</c:v>
                </c:pt>
                <c:pt idx="57">
                  <c:v>44426</c:v>
                </c:pt>
                <c:pt idx="58">
                  <c:v>44427</c:v>
                </c:pt>
                <c:pt idx="59">
                  <c:v>44428</c:v>
                </c:pt>
                <c:pt idx="60">
                  <c:v>44429</c:v>
                </c:pt>
                <c:pt idx="61">
                  <c:v>44430</c:v>
                </c:pt>
                <c:pt idx="62">
                  <c:v>44431</c:v>
                </c:pt>
                <c:pt idx="63">
                  <c:v>44432</c:v>
                </c:pt>
                <c:pt idx="64">
                  <c:v>44433</c:v>
                </c:pt>
                <c:pt idx="65">
                  <c:v>44434</c:v>
                </c:pt>
                <c:pt idx="66">
                  <c:v>44435</c:v>
                </c:pt>
                <c:pt idx="67">
                  <c:v>44436</c:v>
                </c:pt>
                <c:pt idx="68">
                  <c:v>44437</c:v>
                </c:pt>
                <c:pt idx="69">
                  <c:v>44438</c:v>
                </c:pt>
                <c:pt idx="70">
                  <c:v>44439</c:v>
                </c:pt>
                <c:pt idx="71">
                  <c:v>44440</c:v>
                </c:pt>
                <c:pt idx="72">
                  <c:v>44441</c:v>
                </c:pt>
                <c:pt idx="73">
                  <c:v>44442</c:v>
                </c:pt>
                <c:pt idx="74">
                  <c:v>44443</c:v>
                </c:pt>
                <c:pt idx="75">
                  <c:v>44444</c:v>
                </c:pt>
                <c:pt idx="76">
                  <c:v>44445</c:v>
                </c:pt>
                <c:pt idx="77">
                  <c:v>44446</c:v>
                </c:pt>
                <c:pt idx="78">
                  <c:v>44447</c:v>
                </c:pt>
                <c:pt idx="79">
                  <c:v>44448</c:v>
                </c:pt>
                <c:pt idx="80">
                  <c:v>44449</c:v>
                </c:pt>
                <c:pt idx="81">
                  <c:v>44450</c:v>
                </c:pt>
                <c:pt idx="82">
                  <c:v>44451</c:v>
                </c:pt>
                <c:pt idx="83">
                  <c:v>44452</c:v>
                </c:pt>
                <c:pt idx="84">
                  <c:v>44453</c:v>
                </c:pt>
                <c:pt idx="85">
                  <c:v>44454</c:v>
                </c:pt>
                <c:pt idx="86">
                  <c:v>44455</c:v>
                </c:pt>
                <c:pt idx="87">
                  <c:v>44456</c:v>
                </c:pt>
                <c:pt idx="88">
                  <c:v>44457</c:v>
                </c:pt>
                <c:pt idx="89">
                  <c:v>44458</c:v>
                </c:pt>
                <c:pt idx="90">
                  <c:v>44459</c:v>
                </c:pt>
                <c:pt idx="91">
                  <c:v>44460</c:v>
                </c:pt>
                <c:pt idx="92">
                  <c:v>44461</c:v>
                </c:pt>
                <c:pt idx="93">
                  <c:v>44462</c:v>
                </c:pt>
                <c:pt idx="94">
                  <c:v>44463</c:v>
                </c:pt>
                <c:pt idx="95">
                  <c:v>44464</c:v>
                </c:pt>
                <c:pt idx="96">
                  <c:v>44465</c:v>
                </c:pt>
                <c:pt idx="97">
                  <c:v>44466</c:v>
                </c:pt>
                <c:pt idx="98">
                  <c:v>44467</c:v>
                </c:pt>
                <c:pt idx="99">
                  <c:v>44468</c:v>
                </c:pt>
                <c:pt idx="100">
                  <c:v>44469</c:v>
                </c:pt>
                <c:pt idx="101">
                  <c:v>44470</c:v>
                </c:pt>
                <c:pt idx="102">
                  <c:v>44471</c:v>
                </c:pt>
                <c:pt idx="103">
                  <c:v>44472</c:v>
                </c:pt>
                <c:pt idx="104">
                  <c:v>44473</c:v>
                </c:pt>
                <c:pt idx="105">
                  <c:v>44474</c:v>
                </c:pt>
                <c:pt idx="106">
                  <c:v>44475</c:v>
                </c:pt>
                <c:pt idx="107">
                  <c:v>44476</c:v>
                </c:pt>
                <c:pt idx="108">
                  <c:v>44477</c:v>
                </c:pt>
                <c:pt idx="109">
                  <c:v>44478</c:v>
                </c:pt>
                <c:pt idx="110">
                  <c:v>44479</c:v>
                </c:pt>
                <c:pt idx="111">
                  <c:v>44480</c:v>
                </c:pt>
                <c:pt idx="112">
                  <c:v>44481</c:v>
                </c:pt>
                <c:pt idx="113">
                  <c:v>44482</c:v>
                </c:pt>
                <c:pt idx="114">
                  <c:v>44483</c:v>
                </c:pt>
                <c:pt idx="115">
                  <c:v>44484</c:v>
                </c:pt>
                <c:pt idx="116">
                  <c:v>44485</c:v>
                </c:pt>
                <c:pt idx="117">
                  <c:v>44486</c:v>
                </c:pt>
                <c:pt idx="118">
                  <c:v>44487</c:v>
                </c:pt>
                <c:pt idx="119">
                  <c:v>44488</c:v>
                </c:pt>
                <c:pt idx="120">
                  <c:v>44489</c:v>
                </c:pt>
                <c:pt idx="121">
                  <c:v>44490</c:v>
                </c:pt>
                <c:pt idx="122">
                  <c:v>44491</c:v>
                </c:pt>
                <c:pt idx="123">
                  <c:v>44492</c:v>
                </c:pt>
                <c:pt idx="124">
                  <c:v>44493</c:v>
                </c:pt>
                <c:pt idx="125">
                  <c:v>44494</c:v>
                </c:pt>
                <c:pt idx="126">
                  <c:v>44495</c:v>
                </c:pt>
                <c:pt idx="127">
                  <c:v>44496</c:v>
                </c:pt>
                <c:pt idx="128">
                  <c:v>44497</c:v>
                </c:pt>
                <c:pt idx="129">
                  <c:v>44498</c:v>
                </c:pt>
                <c:pt idx="130">
                  <c:v>44499</c:v>
                </c:pt>
                <c:pt idx="131">
                  <c:v>44500</c:v>
                </c:pt>
                <c:pt idx="132">
                  <c:v>44501</c:v>
                </c:pt>
                <c:pt idx="133">
                  <c:v>44502</c:v>
                </c:pt>
                <c:pt idx="134">
                  <c:v>44503</c:v>
                </c:pt>
                <c:pt idx="135">
                  <c:v>44504</c:v>
                </c:pt>
                <c:pt idx="136">
                  <c:v>44505</c:v>
                </c:pt>
                <c:pt idx="137">
                  <c:v>44506</c:v>
                </c:pt>
                <c:pt idx="138">
                  <c:v>44507</c:v>
                </c:pt>
                <c:pt idx="139">
                  <c:v>44508</c:v>
                </c:pt>
                <c:pt idx="140">
                  <c:v>44509</c:v>
                </c:pt>
                <c:pt idx="141">
                  <c:v>44510</c:v>
                </c:pt>
                <c:pt idx="142">
                  <c:v>44511</c:v>
                </c:pt>
                <c:pt idx="143">
                  <c:v>44512</c:v>
                </c:pt>
                <c:pt idx="144">
                  <c:v>44513</c:v>
                </c:pt>
                <c:pt idx="145">
                  <c:v>44514</c:v>
                </c:pt>
                <c:pt idx="146">
                  <c:v>44515</c:v>
                </c:pt>
                <c:pt idx="147">
                  <c:v>44516</c:v>
                </c:pt>
                <c:pt idx="148">
                  <c:v>44517</c:v>
                </c:pt>
                <c:pt idx="149">
                  <c:v>44518</c:v>
                </c:pt>
                <c:pt idx="150">
                  <c:v>44519</c:v>
                </c:pt>
                <c:pt idx="151">
                  <c:v>44520</c:v>
                </c:pt>
                <c:pt idx="152">
                  <c:v>44521</c:v>
                </c:pt>
                <c:pt idx="153">
                  <c:v>44522</c:v>
                </c:pt>
                <c:pt idx="154">
                  <c:v>44523</c:v>
                </c:pt>
                <c:pt idx="155">
                  <c:v>44524</c:v>
                </c:pt>
                <c:pt idx="156">
                  <c:v>44525</c:v>
                </c:pt>
                <c:pt idx="157">
                  <c:v>44526</c:v>
                </c:pt>
                <c:pt idx="158">
                  <c:v>44527</c:v>
                </c:pt>
                <c:pt idx="159">
                  <c:v>44528</c:v>
                </c:pt>
                <c:pt idx="160">
                  <c:v>44529</c:v>
                </c:pt>
                <c:pt idx="161">
                  <c:v>44530</c:v>
                </c:pt>
                <c:pt idx="162">
                  <c:v>44531</c:v>
                </c:pt>
                <c:pt idx="163">
                  <c:v>44532</c:v>
                </c:pt>
                <c:pt idx="164">
                  <c:v>44533</c:v>
                </c:pt>
                <c:pt idx="165">
                  <c:v>44534</c:v>
                </c:pt>
                <c:pt idx="166">
                  <c:v>44535</c:v>
                </c:pt>
                <c:pt idx="167">
                  <c:v>44536</c:v>
                </c:pt>
                <c:pt idx="168">
                  <c:v>44537</c:v>
                </c:pt>
                <c:pt idx="169">
                  <c:v>44538</c:v>
                </c:pt>
                <c:pt idx="170">
                  <c:v>44539</c:v>
                </c:pt>
                <c:pt idx="171">
                  <c:v>44540</c:v>
                </c:pt>
                <c:pt idx="172">
                  <c:v>44541</c:v>
                </c:pt>
                <c:pt idx="173">
                  <c:v>44542</c:v>
                </c:pt>
                <c:pt idx="174">
                  <c:v>44543</c:v>
                </c:pt>
                <c:pt idx="175">
                  <c:v>44544</c:v>
                </c:pt>
                <c:pt idx="176">
                  <c:v>44545</c:v>
                </c:pt>
                <c:pt idx="177">
                  <c:v>44546</c:v>
                </c:pt>
                <c:pt idx="178">
                  <c:v>44547</c:v>
                </c:pt>
                <c:pt idx="179">
                  <c:v>44548</c:v>
                </c:pt>
                <c:pt idx="180">
                  <c:v>44549</c:v>
                </c:pt>
                <c:pt idx="181">
                  <c:v>44550</c:v>
                </c:pt>
                <c:pt idx="182">
                  <c:v>44551</c:v>
                </c:pt>
                <c:pt idx="183">
                  <c:v>44552</c:v>
                </c:pt>
                <c:pt idx="184">
                  <c:v>44553</c:v>
                </c:pt>
                <c:pt idx="185">
                  <c:v>44554</c:v>
                </c:pt>
                <c:pt idx="186">
                  <c:v>44555</c:v>
                </c:pt>
              </c:numCache>
            </c:numRef>
          </c:cat>
          <c:val>
            <c:numRef>
              <c:f>Sheet1!$B$135:$B$321</c:f>
              <c:numCache>
                <c:formatCode>General</c:formatCode>
                <c:ptCount val="187"/>
                <c:pt idx="0">
                  <c:v>0</c:v>
                </c:pt>
                <c:pt idx="1">
                  <c:v>1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1</c:v>
                </c:pt>
                <c:pt idx="12">
                  <c:v>0</c:v>
                </c:pt>
                <c:pt idx="13">
                  <c:v>1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2</c:v>
                </c:pt>
                <c:pt idx="19">
                  <c:v>0</c:v>
                </c:pt>
                <c:pt idx="20">
                  <c:v>2</c:v>
                </c:pt>
                <c:pt idx="21">
                  <c:v>1</c:v>
                </c:pt>
                <c:pt idx="22">
                  <c:v>0</c:v>
                </c:pt>
                <c:pt idx="23">
                  <c:v>0</c:v>
                </c:pt>
                <c:pt idx="24">
                  <c:v>3</c:v>
                </c:pt>
                <c:pt idx="25">
                  <c:v>2</c:v>
                </c:pt>
                <c:pt idx="26">
                  <c:v>1</c:v>
                </c:pt>
                <c:pt idx="27">
                  <c:v>2</c:v>
                </c:pt>
                <c:pt idx="28">
                  <c:v>2</c:v>
                </c:pt>
                <c:pt idx="29">
                  <c:v>2</c:v>
                </c:pt>
                <c:pt idx="30">
                  <c:v>4</c:v>
                </c:pt>
                <c:pt idx="31">
                  <c:v>0</c:v>
                </c:pt>
                <c:pt idx="32">
                  <c:v>0</c:v>
                </c:pt>
                <c:pt idx="33">
                  <c:v>1</c:v>
                </c:pt>
                <c:pt idx="34">
                  <c:v>3</c:v>
                </c:pt>
                <c:pt idx="35">
                  <c:v>1</c:v>
                </c:pt>
                <c:pt idx="36">
                  <c:v>1</c:v>
                </c:pt>
                <c:pt idx="37">
                  <c:v>2</c:v>
                </c:pt>
                <c:pt idx="38">
                  <c:v>2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7</c:v>
                </c:pt>
                <c:pt idx="44">
                  <c:v>1</c:v>
                </c:pt>
                <c:pt idx="45">
                  <c:v>2</c:v>
                </c:pt>
                <c:pt idx="46">
                  <c:v>0</c:v>
                </c:pt>
                <c:pt idx="47">
                  <c:v>3</c:v>
                </c:pt>
                <c:pt idx="48">
                  <c:v>2</c:v>
                </c:pt>
                <c:pt idx="49">
                  <c:v>0</c:v>
                </c:pt>
                <c:pt idx="50">
                  <c:v>4</c:v>
                </c:pt>
                <c:pt idx="51">
                  <c:v>1</c:v>
                </c:pt>
                <c:pt idx="52">
                  <c:v>1</c:v>
                </c:pt>
                <c:pt idx="53">
                  <c:v>0</c:v>
                </c:pt>
                <c:pt idx="54">
                  <c:v>0</c:v>
                </c:pt>
                <c:pt idx="55">
                  <c:v>3</c:v>
                </c:pt>
                <c:pt idx="56">
                  <c:v>0</c:v>
                </c:pt>
                <c:pt idx="57">
                  <c:v>0</c:v>
                </c:pt>
                <c:pt idx="58">
                  <c:v>2</c:v>
                </c:pt>
                <c:pt idx="59">
                  <c:v>1</c:v>
                </c:pt>
                <c:pt idx="60">
                  <c:v>0</c:v>
                </c:pt>
                <c:pt idx="61">
                  <c:v>0</c:v>
                </c:pt>
                <c:pt idx="62">
                  <c:v>2</c:v>
                </c:pt>
                <c:pt idx="63">
                  <c:v>0</c:v>
                </c:pt>
                <c:pt idx="64">
                  <c:v>1</c:v>
                </c:pt>
                <c:pt idx="65">
                  <c:v>1</c:v>
                </c:pt>
                <c:pt idx="66">
                  <c:v>1</c:v>
                </c:pt>
                <c:pt idx="67">
                  <c:v>1</c:v>
                </c:pt>
                <c:pt idx="68">
                  <c:v>0</c:v>
                </c:pt>
                <c:pt idx="69">
                  <c:v>0</c:v>
                </c:pt>
                <c:pt idx="70">
                  <c:v>4</c:v>
                </c:pt>
                <c:pt idx="71">
                  <c:v>4</c:v>
                </c:pt>
                <c:pt idx="72">
                  <c:v>1</c:v>
                </c:pt>
                <c:pt idx="73">
                  <c:v>1</c:v>
                </c:pt>
                <c:pt idx="74">
                  <c:v>3</c:v>
                </c:pt>
                <c:pt idx="75">
                  <c:v>1</c:v>
                </c:pt>
                <c:pt idx="76">
                  <c:v>0</c:v>
                </c:pt>
                <c:pt idx="77">
                  <c:v>2</c:v>
                </c:pt>
                <c:pt idx="78">
                  <c:v>0</c:v>
                </c:pt>
                <c:pt idx="79">
                  <c:v>0</c:v>
                </c:pt>
                <c:pt idx="80">
                  <c:v>3</c:v>
                </c:pt>
                <c:pt idx="81">
                  <c:v>3</c:v>
                </c:pt>
                <c:pt idx="82">
                  <c:v>0</c:v>
                </c:pt>
                <c:pt idx="83">
                  <c:v>4</c:v>
                </c:pt>
                <c:pt idx="84">
                  <c:v>2</c:v>
                </c:pt>
                <c:pt idx="85">
                  <c:v>0</c:v>
                </c:pt>
                <c:pt idx="86">
                  <c:v>1</c:v>
                </c:pt>
                <c:pt idx="87">
                  <c:v>2</c:v>
                </c:pt>
                <c:pt idx="88">
                  <c:v>1</c:v>
                </c:pt>
                <c:pt idx="89">
                  <c:v>1</c:v>
                </c:pt>
                <c:pt idx="90">
                  <c:v>0</c:v>
                </c:pt>
                <c:pt idx="91">
                  <c:v>3</c:v>
                </c:pt>
                <c:pt idx="92">
                  <c:v>3</c:v>
                </c:pt>
                <c:pt idx="93">
                  <c:v>2</c:v>
                </c:pt>
                <c:pt idx="94">
                  <c:v>3</c:v>
                </c:pt>
                <c:pt idx="95">
                  <c:v>0</c:v>
                </c:pt>
                <c:pt idx="96">
                  <c:v>2</c:v>
                </c:pt>
                <c:pt idx="97">
                  <c:v>6</c:v>
                </c:pt>
                <c:pt idx="98">
                  <c:v>4</c:v>
                </c:pt>
                <c:pt idx="99">
                  <c:v>3</c:v>
                </c:pt>
                <c:pt idx="100">
                  <c:v>9</c:v>
                </c:pt>
                <c:pt idx="101">
                  <c:v>2</c:v>
                </c:pt>
                <c:pt idx="102">
                  <c:v>5</c:v>
                </c:pt>
                <c:pt idx="103">
                  <c:v>1</c:v>
                </c:pt>
                <c:pt idx="104">
                  <c:v>0</c:v>
                </c:pt>
                <c:pt idx="105">
                  <c:v>2</c:v>
                </c:pt>
                <c:pt idx="106">
                  <c:v>5</c:v>
                </c:pt>
                <c:pt idx="107">
                  <c:v>6</c:v>
                </c:pt>
                <c:pt idx="108">
                  <c:v>6</c:v>
                </c:pt>
                <c:pt idx="109">
                  <c:v>1</c:v>
                </c:pt>
                <c:pt idx="110">
                  <c:v>1</c:v>
                </c:pt>
                <c:pt idx="111">
                  <c:v>3</c:v>
                </c:pt>
                <c:pt idx="112">
                  <c:v>10</c:v>
                </c:pt>
                <c:pt idx="113">
                  <c:v>7</c:v>
                </c:pt>
                <c:pt idx="114">
                  <c:v>7</c:v>
                </c:pt>
                <c:pt idx="115">
                  <c:v>6</c:v>
                </c:pt>
                <c:pt idx="116">
                  <c:v>5</c:v>
                </c:pt>
                <c:pt idx="117">
                  <c:v>8</c:v>
                </c:pt>
                <c:pt idx="118">
                  <c:v>17</c:v>
                </c:pt>
                <c:pt idx="119">
                  <c:v>17</c:v>
                </c:pt>
                <c:pt idx="120">
                  <c:v>13</c:v>
                </c:pt>
                <c:pt idx="121">
                  <c:v>13</c:v>
                </c:pt>
                <c:pt idx="122">
                  <c:v>17</c:v>
                </c:pt>
                <c:pt idx="123">
                  <c:v>15</c:v>
                </c:pt>
                <c:pt idx="124">
                  <c:v>12</c:v>
                </c:pt>
                <c:pt idx="125">
                  <c:v>29</c:v>
                </c:pt>
                <c:pt idx="126">
                  <c:v>20</c:v>
                </c:pt>
                <c:pt idx="127">
                  <c:v>23</c:v>
                </c:pt>
                <c:pt idx="128">
                  <c:v>22</c:v>
                </c:pt>
                <c:pt idx="129">
                  <c:v>38</c:v>
                </c:pt>
                <c:pt idx="130">
                  <c:v>22</c:v>
                </c:pt>
                <c:pt idx="131">
                  <c:v>18</c:v>
                </c:pt>
                <c:pt idx="132">
                  <c:v>57</c:v>
                </c:pt>
                <c:pt idx="133">
                  <c:v>39</c:v>
                </c:pt>
                <c:pt idx="134">
                  <c:v>39</c:v>
                </c:pt>
                <c:pt idx="135">
                  <c:v>27</c:v>
                </c:pt>
                <c:pt idx="136">
                  <c:v>41</c:v>
                </c:pt>
                <c:pt idx="137">
                  <c:v>21</c:v>
                </c:pt>
                <c:pt idx="138">
                  <c:v>19</c:v>
                </c:pt>
                <c:pt idx="139">
                  <c:v>53</c:v>
                </c:pt>
                <c:pt idx="140">
                  <c:v>46</c:v>
                </c:pt>
                <c:pt idx="141">
                  <c:v>48</c:v>
                </c:pt>
                <c:pt idx="142">
                  <c:v>50</c:v>
                </c:pt>
                <c:pt idx="143">
                  <c:v>45</c:v>
                </c:pt>
                <c:pt idx="144">
                  <c:v>50</c:v>
                </c:pt>
                <c:pt idx="145">
                  <c:v>23</c:v>
                </c:pt>
                <c:pt idx="146">
                  <c:v>64</c:v>
                </c:pt>
                <c:pt idx="147">
                  <c:v>62</c:v>
                </c:pt>
                <c:pt idx="148">
                  <c:v>44</c:v>
                </c:pt>
                <c:pt idx="149">
                  <c:v>57</c:v>
                </c:pt>
                <c:pt idx="150">
                  <c:v>84</c:v>
                </c:pt>
                <c:pt idx="151">
                  <c:v>50</c:v>
                </c:pt>
                <c:pt idx="152">
                  <c:v>31</c:v>
                </c:pt>
                <c:pt idx="153">
                  <c:v>63</c:v>
                </c:pt>
                <c:pt idx="154">
                  <c:v>73</c:v>
                </c:pt>
                <c:pt idx="155">
                  <c:v>44</c:v>
                </c:pt>
                <c:pt idx="156">
                  <c:v>70</c:v>
                </c:pt>
                <c:pt idx="157">
                  <c:v>57</c:v>
                </c:pt>
                <c:pt idx="158">
                  <c:v>33</c:v>
                </c:pt>
                <c:pt idx="159">
                  <c:v>42</c:v>
                </c:pt>
                <c:pt idx="160">
                  <c:v>64</c:v>
                </c:pt>
                <c:pt idx="161">
                  <c:v>52</c:v>
                </c:pt>
                <c:pt idx="162">
                  <c:v>56</c:v>
                </c:pt>
                <c:pt idx="163">
                  <c:v>44</c:v>
                </c:pt>
                <c:pt idx="164">
                  <c:v>52</c:v>
                </c:pt>
                <c:pt idx="165">
                  <c:v>27</c:v>
                </c:pt>
                <c:pt idx="166">
                  <c:v>17</c:v>
                </c:pt>
                <c:pt idx="167">
                  <c:v>47</c:v>
                </c:pt>
                <c:pt idx="168">
                  <c:v>45</c:v>
                </c:pt>
                <c:pt idx="169">
                  <c:v>30</c:v>
                </c:pt>
                <c:pt idx="170">
                  <c:v>33</c:v>
                </c:pt>
                <c:pt idx="171">
                  <c:v>34</c:v>
                </c:pt>
                <c:pt idx="172">
                  <c:v>21</c:v>
                </c:pt>
                <c:pt idx="173">
                  <c:v>13</c:v>
                </c:pt>
                <c:pt idx="174">
                  <c:v>30</c:v>
                </c:pt>
                <c:pt idx="175">
                  <c:v>25</c:v>
                </c:pt>
                <c:pt idx="176">
                  <c:v>25</c:v>
                </c:pt>
                <c:pt idx="177">
                  <c:v>16</c:v>
                </c:pt>
                <c:pt idx="178">
                  <c:v>25</c:v>
                </c:pt>
                <c:pt idx="179">
                  <c:v>21</c:v>
                </c:pt>
                <c:pt idx="180">
                  <c:v>14</c:v>
                </c:pt>
                <c:pt idx="181">
                  <c:v>27</c:v>
                </c:pt>
                <c:pt idx="182">
                  <c:v>30</c:v>
                </c:pt>
                <c:pt idx="183">
                  <c:v>20</c:v>
                </c:pt>
                <c:pt idx="184">
                  <c:v>22</c:v>
                </c:pt>
                <c:pt idx="185">
                  <c:v>3</c:v>
                </c:pt>
                <c:pt idx="186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8C7-4733-952F-D247528AD3F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27.12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1953481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6615066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500646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500646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3448913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955331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4368077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7572051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2389165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2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3330937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2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8884498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2830327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7309397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1444313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1444313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6017834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3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6409036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38415299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4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0845677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4888445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2893442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7216154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3512317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2821312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1914962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731954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image" Target="../media/image10.sv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0.svg"/><Relationship Id="rId5" Type="http://schemas.openxmlformats.org/officeDocument/2006/relationships/image" Target="../media/image13.png"/><Relationship Id="rId4" Type="http://schemas.openxmlformats.org/officeDocument/2006/relationships/image" Target="../media/image3.pn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image" Target="../media/image10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6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tmp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039226"/>
            <a:ext cx="11487705" cy="5587305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11FBEFA6-3CC9-4A8B-98AB-811AE091489A}"/>
              </a:ext>
            </a:extLst>
          </p:cNvPr>
          <p:cNvSpPr/>
          <p:nvPr userDrawn="1"/>
        </p:nvSpPr>
        <p:spPr>
          <a:xfrm>
            <a:off x="1" y="1"/>
            <a:ext cx="12192000" cy="79066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20" name="Nadpis 1">
            <a:extLst>
              <a:ext uri="{FF2B5EF4-FFF2-40B4-BE49-F238E27FC236}">
                <a16:creationId xmlns:a16="http://schemas.microsoft.com/office/drawing/2014/main" id="{C2747F8C-F296-41AB-B6E6-650FFEA011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1"/>
            <a:ext cx="5396696" cy="790667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9928806D-A537-4323-B4ED-4983696D2AF8}"/>
              </a:ext>
            </a:extLst>
          </p:cNvPr>
          <p:cNvGrpSpPr/>
          <p:nvPr userDrawn="1"/>
        </p:nvGrpSpPr>
        <p:grpSpPr>
          <a:xfrm>
            <a:off x="5972087" y="107328"/>
            <a:ext cx="6026262" cy="737003"/>
            <a:chOff x="5972087" y="329946"/>
            <a:chExt cx="6026262" cy="73700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FB2B0A03-1219-4FC5-81C7-A43DCB123A0C}"/>
                </a:ext>
              </a:extLst>
            </p:cNvPr>
            <p:cNvGrpSpPr/>
            <p:nvPr userDrawn="1"/>
          </p:nvGrpSpPr>
          <p:grpSpPr>
            <a:xfrm>
              <a:off x="8116661" y="349032"/>
              <a:ext cx="3881688" cy="450808"/>
              <a:chOff x="8214317" y="349032"/>
              <a:chExt cx="3881688" cy="450808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2E921148-1008-412D-AB36-245237C3D6B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8214317" y="488933"/>
                <a:ext cx="2963998" cy="252000"/>
              </a:xfrm>
              <a:prstGeom prst="rect">
                <a:avLst/>
              </a:prstGeom>
            </p:spPr>
          </p:pic>
          <p:pic>
            <p:nvPicPr>
              <p:cNvPr id="28" name="Obrázek 27" descr="Obsah obrázku kreslení&#10;&#10;Popis byl vytvořen automaticky">
                <a:extLst>
                  <a:ext uri="{FF2B5EF4-FFF2-40B4-BE49-F238E27FC236}">
                    <a16:creationId xmlns:a16="http://schemas.microsoft.com/office/drawing/2014/main" id="{480755B3-A38B-4215-974C-50EA6F66494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30075" y="349032"/>
                <a:ext cx="665930" cy="450808"/>
              </a:xfrm>
              <a:prstGeom prst="rect">
                <a:avLst/>
              </a:prstGeom>
            </p:spPr>
          </p:pic>
        </p:grpSp>
        <p:pic>
          <p:nvPicPr>
            <p:cNvPr id="23" name="Grafický objekt 22">
              <a:extLst>
                <a:ext uri="{FF2B5EF4-FFF2-40B4-BE49-F238E27FC236}">
                  <a16:creationId xmlns:a16="http://schemas.microsoft.com/office/drawing/2014/main" id="{1A14BE4F-72B2-49A1-B4A4-7983F7AE574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t="-1" b="-2685"/>
            <a:stretch/>
          </p:blipFill>
          <p:spPr>
            <a:xfrm>
              <a:off x="5972087" y="329946"/>
              <a:ext cx="1892814" cy="7370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4" userDrawn="1">
          <p15:clr>
            <a:srgbClr val="FBAE40"/>
          </p15:clr>
        </p15:guide>
        <p15:guide id="2" pos="7582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6751BB3-54BB-497C-9D87-7331E63652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169F060A-A852-4CAC-8567-9FF26BE22C4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DA874AFF-9D96-448C-A700-2FC369C17CF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4FEB687C-F962-4BE7-8278-3C31FC255F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7.12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C8620F06-EBA0-40CC-9A9C-15001C536D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D0FDE4CA-77DD-417D-8C54-07ECB9628C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2988581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83EF8E94-026C-4341-B09E-E0FB30A2BA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90670218-0D2B-45AF-8CEE-4DF7A0BA97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BFFD3F4B-DA25-4423-9234-6270FB4E0C1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57E2AC16-B4BF-4A45-92DD-CD16581B2D7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7000A558-D06F-4CAD-88FC-71F13523FA6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118A76E9-680A-4BC2-86CB-5D2DB66F56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7.12.2021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1152DBE4-0E61-401B-BD63-91D12BCAE9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C424E131-06CD-4DDF-BC06-F98D2D3B9B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8790454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85B3AFD-D5D4-46CB-9F1D-95D2EFDFBB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B1BD99F9-6247-4A54-87C4-9749A54B1A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7.12.2021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F8DBF052-AB7F-4048-9680-0492DCE6D0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B92A02BA-2BB6-4CF6-8B58-CFAA66013A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4670865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D612E4EC-12D7-42E4-AE43-F6D7008AB3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7.12.2021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2706D130-0739-4330-9775-702FDF7EE7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A94FAE36-22DA-4CEF-82CE-F85F3D6E5E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92499921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C0AC2F0-B610-42BD-9258-BE4E8A4796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9594586C-48B1-4459-A0A6-DFA4C0FE38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7618E00B-DFA9-4ABA-9E89-EC4C6B3AC9F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0E3D956F-D736-467D-809E-A6B8EBBB7B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7.12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EA2BC7A4-764C-4169-ADBC-7F1248B44C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B88FFD62-2584-4271-8B43-930689E422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4052338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55F6CA7-4510-4C38-AB29-269B0667E7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525F525D-76F8-4F89-ACDB-370F1E3E47C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0513CD65-3F93-416A-8079-50A6B39FD29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6FE6EB9A-EACF-42B5-8677-B501B2A425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7.12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C6CB2E11-5C59-4983-B23C-9405031356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A284666C-EC8D-44A8-94DD-5735F90594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3790976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7C593D8-E6C3-42E0-91E5-34BBFE7635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07D27C9F-D286-49AD-B637-AB03985B6A0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60051D3F-4680-4DFE-9D28-92707289CE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7.12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31A2C8DA-A4B9-4CA7-8902-C297ECB62B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14C9B13D-3976-43E2-9805-3E309ABC75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068716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2A4CD9B6-8A80-4B59-B5D5-0A7202A073E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3D6E8B14-04CE-430A-97C5-E63E3AC6241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CA124C15-1E21-44AA-B0CF-567922D2D9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7.12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277C4AD0-92D5-4BED-AD8D-2078F6B78A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0065E49F-34C0-46C8-AAEF-3C9FAFE7C2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3263307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129214124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03473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bdélník 10">
            <a:extLst>
              <a:ext uri="{FF2B5EF4-FFF2-40B4-BE49-F238E27FC236}">
                <a16:creationId xmlns:a16="http://schemas.microsoft.com/office/drawing/2014/main" id="{DC58920C-B9EC-4A94-B9EB-451592F3EED9}"/>
              </a:ext>
            </a:extLst>
          </p:cNvPr>
          <p:cNvSpPr/>
          <p:nvPr userDrawn="1"/>
        </p:nvSpPr>
        <p:spPr>
          <a:xfrm>
            <a:off x="1" y="1"/>
            <a:ext cx="12192000" cy="79066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2" name="Nadpis 1">
            <a:extLst>
              <a:ext uri="{FF2B5EF4-FFF2-40B4-BE49-F238E27FC236}">
                <a16:creationId xmlns:a16="http://schemas.microsoft.com/office/drawing/2014/main" id="{A3C58891-14E6-4818-B969-C72F93F087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1"/>
            <a:ext cx="5396696" cy="790667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4B49FBB4-BF51-45C2-86CA-B4502DA62936}"/>
              </a:ext>
            </a:extLst>
          </p:cNvPr>
          <p:cNvGrpSpPr/>
          <p:nvPr userDrawn="1"/>
        </p:nvGrpSpPr>
        <p:grpSpPr>
          <a:xfrm>
            <a:off x="5972087" y="107328"/>
            <a:ext cx="6026262" cy="737003"/>
            <a:chOff x="5972087" y="329946"/>
            <a:chExt cx="6026262" cy="737003"/>
          </a:xfrm>
        </p:grpSpPr>
        <p:grpSp>
          <p:nvGrpSpPr>
            <p:cNvPr id="14" name="Skupina 13">
              <a:extLst>
                <a:ext uri="{FF2B5EF4-FFF2-40B4-BE49-F238E27FC236}">
                  <a16:creationId xmlns:a16="http://schemas.microsoft.com/office/drawing/2014/main" id="{1533BE81-CFEE-48A9-AF03-143EC513CB79}"/>
                </a:ext>
              </a:extLst>
            </p:cNvPr>
            <p:cNvGrpSpPr/>
            <p:nvPr userDrawn="1"/>
          </p:nvGrpSpPr>
          <p:grpSpPr>
            <a:xfrm>
              <a:off x="8116661" y="349032"/>
              <a:ext cx="3881688" cy="450808"/>
              <a:chOff x="8214317" y="349032"/>
              <a:chExt cx="3881688" cy="450808"/>
            </a:xfrm>
          </p:grpSpPr>
          <p:pic>
            <p:nvPicPr>
              <p:cNvPr id="17" name="Grafický objekt 16">
                <a:extLst>
                  <a:ext uri="{FF2B5EF4-FFF2-40B4-BE49-F238E27FC236}">
                    <a16:creationId xmlns:a16="http://schemas.microsoft.com/office/drawing/2014/main" id="{2BA1D09A-64DD-4910-BF60-CC7075472A8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8214317" y="488933"/>
                <a:ext cx="2963998" cy="252000"/>
              </a:xfrm>
              <a:prstGeom prst="rect">
                <a:avLst/>
              </a:prstGeom>
            </p:spPr>
          </p:pic>
          <p:pic>
            <p:nvPicPr>
              <p:cNvPr id="18" name="Obrázek 17" descr="Obsah obrázku kreslení&#10;&#10;Popis byl vytvořen automaticky">
                <a:extLst>
                  <a:ext uri="{FF2B5EF4-FFF2-40B4-BE49-F238E27FC236}">
                    <a16:creationId xmlns:a16="http://schemas.microsoft.com/office/drawing/2014/main" id="{3A04F306-61D6-499B-9F34-24714C7AFEA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30075" y="349032"/>
                <a:ext cx="665930" cy="450808"/>
              </a:xfrm>
              <a:prstGeom prst="rect">
                <a:avLst/>
              </a:prstGeom>
            </p:spPr>
          </p:pic>
        </p:grpSp>
        <p:pic>
          <p:nvPicPr>
            <p:cNvPr id="15" name="Grafický objekt 14">
              <a:extLst>
                <a:ext uri="{FF2B5EF4-FFF2-40B4-BE49-F238E27FC236}">
                  <a16:creationId xmlns:a16="http://schemas.microsoft.com/office/drawing/2014/main" id="{62747C58-6152-448D-9270-C4FE61C51FC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t="-1" b="-2685"/>
            <a:stretch/>
          </p:blipFill>
          <p:spPr>
            <a:xfrm>
              <a:off x="5972087" y="329946"/>
              <a:ext cx="1892814" cy="7370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077777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11543316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410280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068148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6082055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2920660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1153189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aln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délník 7">
            <a:extLst>
              <a:ext uri="{FF2B5EF4-FFF2-40B4-BE49-F238E27FC236}">
                <a16:creationId xmlns:a16="http://schemas.microsoft.com/office/drawing/2014/main" id="{57251005-B581-4C6B-9623-FE7C9E672C61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9" name="Nadpis 1">
            <a:extLst>
              <a:ext uri="{FF2B5EF4-FFF2-40B4-BE49-F238E27FC236}">
                <a16:creationId xmlns:a16="http://schemas.microsoft.com/office/drawing/2014/main" id="{2ABA8342-40EF-4EF8-878F-E756BF1AAB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EC133C2D-E49B-4A76-8E4C-79637436790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102342" y="93094"/>
            <a:ext cx="4017507" cy="504000"/>
            <a:chOff x="5972087" y="329946"/>
            <a:chExt cx="6026262" cy="737003"/>
          </a:xfrm>
        </p:grpSpPr>
        <p:grpSp>
          <p:nvGrpSpPr>
            <p:cNvPr id="12" name="Skupina 11">
              <a:extLst>
                <a:ext uri="{FF2B5EF4-FFF2-40B4-BE49-F238E27FC236}">
                  <a16:creationId xmlns:a16="http://schemas.microsoft.com/office/drawing/2014/main" id="{7B0E7EF1-130B-4AF3-9B9B-F57B675459BE}"/>
                </a:ext>
              </a:extLst>
            </p:cNvPr>
            <p:cNvGrpSpPr/>
            <p:nvPr userDrawn="1"/>
          </p:nvGrpSpPr>
          <p:grpSpPr>
            <a:xfrm>
              <a:off x="8116661" y="331276"/>
              <a:ext cx="3881688" cy="450808"/>
              <a:chOff x="8214317" y="331276"/>
              <a:chExt cx="3881688" cy="450808"/>
            </a:xfrm>
          </p:grpSpPr>
          <p:pic>
            <p:nvPicPr>
              <p:cNvPr id="14" name="Grafický objekt 13">
                <a:extLst>
                  <a:ext uri="{FF2B5EF4-FFF2-40B4-BE49-F238E27FC236}">
                    <a16:creationId xmlns:a16="http://schemas.microsoft.com/office/drawing/2014/main" id="{5A70A0E6-773C-4F6E-853C-28A61AEF1D8E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8214317" y="471177"/>
                <a:ext cx="2963998" cy="252000"/>
              </a:xfrm>
              <a:prstGeom prst="rect">
                <a:avLst/>
              </a:prstGeom>
            </p:spPr>
          </p:pic>
          <p:pic>
            <p:nvPicPr>
              <p:cNvPr id="15" name="Obrázek 14" descr="Obsah obrázku kreslení&#10;&#10;Popis byl vytvořen automaticky">
                <a:extLst>
                  <a:ext uri="{FF2B5EF4-FFF2-40B4-BE49-F238E27FC236}">
                    <a16:creationId xmlns:a16="http://schemas.microsoft.com/office/drawing/2014/main" id="{7F95AEA6-4367-4B52-93A3-3068041EC41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30075" y="331276"/>
                <a:ext cx="665930" cy="450808"/>
              </a:xfrm>
              <a:prstGeom prst="rect">
                <a:avLst/>
              </a:prstGeom>
            </p:spPr>
          </p:pic>
        </p:grpSp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ABAFA576-D9BF-4267-9BD2-2B78AD34E65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t="-1" b="-2685"/>
            <a:stretch/>
          </p:blipFill>
          <p:spPr>
            <a:xfrm>
              <a:off x="5972087" y="329946"/>
              <a:ext cx="1892814" cy="7370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054070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68312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05204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BA61EBA-4FFF-4673-9BA0-55E82F99259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66FDA1FA-15B4-46DB-8563-9D168899EC0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0E34FA4-860E-40B4-97AD-3CF9B2CE90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7.12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0DD889F8-1CC5-41C1-BAF5-5D6BD0F6F5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EDA22AC9-06BD-4427-B62E-52F6A58CB1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139218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730E577-8B32-4569-AC3C-76D6F2F6BD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F410C648-E034-410B-B01B-87701C8351F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E05F7769-50EF-4D0F-97C4-6A5E9227B1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7.12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1B6DB6D5-8367-4F80-AF41-87D069C803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ADF10414-C935-472D-B8FC-16EBD0EE01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223185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8BCBB21-C0F1-4B2B-8A1C-15DD2EBAB7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A7818461-3C43-44FE-80B9-D048BFA8E55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107805A-C211-4BDC-8A7C-50C017CDC0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7.12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5CF91BA1-1C1F-4294-9B84-82D31143C1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AB89D46F-E6FD-4433-AE57-F03CFCFF88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375455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8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5" Type="http://schemas.openxmlformats.org/officeDocument/2006/relationships/slideLayout" Target="../slideLayouts/slideLayout23.xml"/><Relationship Id="rId4" Type="http://schemas.openxmlformats.org/officeDocument/2006/relationships/slideLayout" Target="../slideLayouts/slideLayout22.xml"/><Relationship Id="rId9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63" r:id="rId3"/>
    <p:sldLayoutId id="2147483661" r:id="rId4"/>
    <p:sldLayoutId id="2147483665" r:id="rId5"/>
    <p:sldLayoutId id="2147483672" r:id="rId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258AF7D2-4ED1-4129-9DE6-4BC40E78BA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84C08E0B-8703-4F4B-A221-FA41C8EDAF1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93CDA1AE-D051-4265-B739-BBADD05EDA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A058D0A-07E9-4A68-88A0-7C25FDBBE4AC}" type="datetimeFigureOut">
              <a:rPr lang="cs-CZ" smtClean="0"/>
              <a:t>27.12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BAA14082-EF73-46FC-8343-A2A3582777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72998947-0E69-43B5-8B05-739CE4C1B8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591738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6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5209713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Relationship Id="rId4" Type="http://schemas.openxmlformats.org/officeDocument/2006/relationships/chart" Target="../charts/char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5" Type="http://schemas.openxmlformats.org/officeDocument/2006/relationships/tags" Target="../tags/tag6.xml"/><Relationship Id="rId10" Type="http://schemas.openxmlformats.org/officeDocument/2006/relationships/chart" Target="../charts/chart9.xml"/><Relationship Id="rId4" Type="http://schemas.openxmlformats.org/officeDocument/2006/relationships/tags" Target="../tags/tag5.xml"/><Relationship Id="rId9" Type="http://schemas.openxmlformats.org/officeDocument/2006/relationships/notesSlide" Target="../notesSlides/notesSlide20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4" Type="http://schemas.openxmlformats.org/officeDocument/2006/relationships/chart" Target="../charts/chart10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tags" Target="../tags/tag13.xml"/><Relationship Id="rId7" Type="http://schemas.openxmlformats.org/officeDocument/2006/relationships/tags" Target="../tags/tag17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tags" Target="../tags/tag16.xml"/><Relationship Id="rId5" Type="http://schemas.openxmlformats.org/officeDocument/2006/relationships/tags" Target="../tags/tag15.xml"/><Relationship Id="rId10" Type="http://schemas.openxmlformats.org/officeDocument/2006/relationships/chart" Target="../charts/chart11.xml"/><Relationship Id="rId4" Type="http://schemas.openxmlformats.org/officeDocument/2006/relationships/tags" Target="../tags/tag14.xml"/><Relationship Id="rId9" Type="http://schemas.openxmlformats.org/officeDocument/2006/relationships/notesSlide" Target="../notesSlides/notesSlide21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4" Type="http://schemas.openxmlformats.org/officeDocument/2006/relationships/chart" Target="../charts/chart12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tags" Target="../tags/tag22.xml"/><Relationship Id="rId7" Type="http://schemas.openxmlformats.org/officeDocument/2006/relationships/tags" Target="../tags/tag26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tags" Target="../tags/tag25.xml"/><Relationship Id="rId5" Type="http://schemas.openxmlformats.org/officeDocument/2006/relationships/tags" Target="../tags/tag24.xml"/><Relationship Id="rId10" Type="http://schemas.openxmlformats.org/officeDocument/2006/relationships/chart" Target="../charts/chart13.xml"/><Relationship Id="rId4" Type="http://schemas.openxmlformats.org/officeDocument/2006/relationships/tags" Target="../tags/tag23.xml"/><Relationship Id="rId9" Type="http://schemas.openxmlformats.org/officeDocument/2006/relationships/notesSlide" Target="../notesSlides/notesSlide2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4" Type="http://schemas.openxmlformats.org/officeDocument/2006/relationships/chart" Target="../charts/chart14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tags" Target="../tags/tag31.xml"/><Relationship Id="rId7" Type="http://schemas.openxmlformats.org/officeDocument/2006/relationships/tags" Target="../tags/tag35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tags" Target="../tags/tag34.xml"/><Relationship Id="rId5" Type="http://schemas.openxmlformats.org/officeDocument/2006/relationships/tags" Target="../tags/tag33.xml"/><Relationship Id="rId10" Type="http://schemas.openxmlformats.org/officeDocument/2006/relationships/chart" Target="../charts/chart15.xml"/><Relationship Id="rId4" Type="http://schemas.openxmlformats.org/officeDocument/2006/relationships/tags" Target="../tags/tag32.xml"/><Relationship Id="rId9" Type="http://schemas.openxmlformats.org/officeDocument/2006/relationships/notesSlide" Target="../notesSlides/notesSlide2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5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5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38.xml"/><Relationship Id="rId7" Type="http://schemas.openxmlformats.org/officeDocument/2006/relationships/chart" Target="../charts/chart16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slideLayout" Target="../slideLayouts/slideLayout18.xml"/><Relationship Id="rId5" Type="http://schemas.openxmlformats.org/officeDocument/2006/relationships/tags" Target="../tags/tag40.xml"/><Relationship Id="rId4" Type="http://schemas.openxmlformats.org/officeDocument/2006/relationships/tags" Target="../tags/tag39.xml"/><Relationship Id="rId9" Type="http://schemas.microsoft.com/office/2007/relationships/hdphoto" Target="../media/hdphoto1.wdp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42.xml"/><Relationship Id="rId1" Type="http://schemas.openxmlformats.org/officeDocument/2006/relationships/tags" Target="../tags/tag41.xml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45.xml"/><Relationship Id="rId7" Type="http://schemas.openxmlformats.org/officeDocument/2006/relationships/chart" Target="../charts/chart17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slideLayout" Target="../slideLayouts/slideLayout18.xml"/><Relationship Id="rId5" Type="http://schemas.openxmlformats.org/officeDocument/2006/relationships/tags" Target="../tags/tag47.xml"/><Relationship Id="rId4" Type="http://schemas.openxmlformats.org/officeDocument/2006/relationships/tags" Target="../tags/tag46.xml"/><Relationship Id="rId9" Type="http://schemas.microsoft.com/office/2007/relationships/hdphoto" Target="../media/hdphoto1.wdp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49.xml"/><Relationship Id="rId1" Type="http://schemas.openxmlformats.org/officeDocument/2006/relationships/tags" Target="../tags/tag48.xml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52.xml"/><Relationship Id="rId7" Type="http://schemas.openxmlformats.org/officeDocument/2006/relationships/chart" Target="../charts/chart18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slideLayout" Target="../slideLayouts/slideLayout18.xml"/><Relationship Id="rId5" Type="http://schemas.openxmlformats.org/officeDocument/2006/relationships/tags" Target="../tags/tag54.xml"/><Relationship Id="rId4" Type="http://schemas.openxmlformats.org/officeDocument/2006/relationships/tags" Target="../tags/tag53.xml"/><Relationship Id="rId9" Type="http://schemas.microsoft.com/office/2007/relationships/hdphoto" Target="../media/hdphoto1.wdp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56.xml"/><Relationship Id="rId1" Type="http://schemas.openxmlformats.org/officeDocument/2006/relationships/tags" Target="../tags/tag55.xm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59.xml"/><Relationship Id="rId7" Type="http://schemas.openxmlformats.org/officeDocument/2006/relationships/chart" Target="../charts/chart19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slideLayout" Target="../slideLayouts/slideLayout18.xml"/><Relationship Id="rId5" Type="http://schemas.openxmlformats.org/officeDocument/2006/relationships/tags" Target="../tags/tag61.xml"/><Relationship Id="rId4" Type="http://schemas.openxmlformats.org/officeDocument/2006/relationships/tags" Target="../tags/tag60.xml"/><Relationship Id="rId9" Type="http://schemas.microsoft.com/office/2007/relationships/hdphoto" Target="../media/hdphoto1.wdp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63.xml"/><Relationship Id="rId1" Type="http://schemas.openxmlformats.org/officeDocument/2006/relationships/tags" Target="../tags/tag62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.xml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5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4" Type="http://schemas.openxmlformats.org/officeDocument/2006/relationships/chart" Target="../charts/chart2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1"/>
          <p:cNvSpPr txBox="1">
            <a:spLocks/>
          </p:cNvSpPr>
          <p:nvPr/>
        </p:nvSpPr>
        <p:spPr>
          <a:xfrm>
            <a:off x="0" y="3900347"/>
            <a:ext cx="12192000" cy="153429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Zdravotničtí pracovníci: souhrnný přehled stavu očkování a zátěže COVID-19</a:t>
            </a:r>
          </a:p>
        </p:txBody>
      </p:sp>
      <p:sp>
        <p:nvSpPr>
          <p:cNvPr id="5" name="Nadpis 1"/>
          <p:cNvSpPr txBox="1">
            <a:spLocks/>
          </p:cNvSpPr>
          <p:nvPr/>
        </p:nvSpPr>
        <p:spPr>
          <a:xfrm>
            <a:off x="73152" y="1801368"/>
            <a:ext cx="12192000" cy="169057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tav a vývoj epidemie COVID-19 </a:t>
            </a:r>
            <a:b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v dostupných datech</a:t>
            </a:r>
          </a:p>
        </p:txBody>
      </p:sp>
    </p:spTree>
    <p:extLst>
      <p:ext uri="{BB962C8B-B14F-4D97-AF65-F5344CB8AC3E}">
        <p14:creationId xmlns:p14="http://schemas.microsoft.com/office/powerpoint/2010/main" val="11904359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ání zdravotnických pracovníků </a:t>
            </a: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169149" y="1996486"/>
            <a:ext cx="11853702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ysoká úroveň proočkovanosti je patrná u pracovníků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akutní lůžkové péči a v záchranné zdravotnické službě: lékaři 88 % a sestry 84 %. Přesto </a:t>
            </a:r>
            <a:r>
              <a:rPr lang="cs-CZ" sz="3200" b="1" dirty="0">
                <a:latin typeface="Arial" panose="020B0604020202020204"/>
              </a:rPr>
              <a:t>i v této kategorii existuje prostor k posílení očkování, zejména v některých moravských regionech. </a:t>
            </a:r>
            <a:endParaRPr kumimoji="0" lang="cs-CZ" sz="32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2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Šipka dolů 10"/>
          <p:cNvSpPr/>
          <p:nvPr/>
        </p:nvSpPr>
        <p:spPr>
          <a:xfrm>
            <a:off x="5390575" y="4652888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7490957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538" y="0"/>
            <a:ext cx="8037065" cy="576000"/>
          </a:xfrm>
        </p:spPr>
        <p:txBody>
          <a:bodyPr/>
          <a:lstStyle/>
          <a:p>
            <a:r>
              <a:rPr lang="cs-CZ" dirty="0"/>
              <a:t>Očkovaní zdravotníci v nemocnicích akutní lůžkové péče a ZZS</a:t>
            </a:r>
          </a:p>
        </p:txBody>
      </p:sp>
      <p:graphicFrame>
        <p:nvGraphicFramePr>
          <p:cNvPr id="9" name="Chart 6">
            <a:extLst>
              <a:ext uri="{FF2B5EF4-FFF2-40B4-BE49-F238E27FC236}">
                <a16:creationId xmlns:a16="http://schemas.microsoft.com/office/drawing/2014/main" id="{95B21923-74CC-4971-8ACF-75603B949F8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55821355"/>
              </p:ext>
            </p:extLst>
          </p:nvPr>
        </p:nvGraphicFramePr>
        <p:xfrm>
          <a:off x="10136" y="1281717"/>
          <a:ext cx="5060115" cy="51184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TextBox 7">
            <a:extLst>
              <a:ext uri="{FF2B5EF4-FFF2-40B4-BE49-F238E27FC236}">
                <a16:creationId xmlns:a16="http://schemas.microsoft.com/office/drawing/2014/main" id="{859ED9E0-6A53-405A-BD02-85A115DFB578}"/>
              </a:ext>
            </a:extLst>
          </p:cNvPr>
          <p:cNvSpPr txBox="1"/>
          <p:nvPr/>
        </p:nvSpPr>
        <p:spPr>
          <a:xfrm>
            <a:off x="1653004" y="1079435"/>
            <a:ext cx="31761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b="1" dirty="0"/>
              <a:t>Podíl vakcinovaných (%)</a:t>
            </a:r>
          </a:p>
        </p:txBody>
      </p:sp>
      <p:graphicFrame>
        <p:nvGraphicFramePr>
          <p:cNvPr id="12" name="Tabulka 11">
            <a:extLst>
              <a:ext uri="{FF2B5EF4-FFF2-40B4-BE49-F238E27FC236}">
                <a16:creationId xmlns:a16="http://schemas.microsoft.com/office/drawing/2014/main" id="{8DE006A4-47CC-483A-94C2-37A91796F02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40816863"/>
              </p:ext>
            </p:extLst>
          </p:nvPr>
        </p:nvGraphicFramePr>
        <p:xfrm>
          <a:off x="5070251" y="1245141"/>
          <a:ext cx="1013589" cy="5010075"/>
        </p:xfrm>
        <a:graphic>
          <a:graphicData uri="http://schemas.openxmlformats.org/drawingml/2006/table">
            <a:tbl>
              <a:tblPr/>
              <a:tblGrid>
                <a:gridCol w="1013589">
                  <a:extLst>
                    <a:ext uri="{9D8B030D-6E8A-4147-A177-3AD203B41FA5}">
                      <a16:colId xmlns:a16="http://schemas.microsoft.com/office/drawing/2014/main" val="1754736106"/>
                    </a:ext>
                  </a:extLst>
                </a:gridCol>
              </a:tblGrid>
              <a:tr h="29721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čet očkovaný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978743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4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7136238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8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8109056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5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9019969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4621748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9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534323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53104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0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0588264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5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10276534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16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881722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 10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247165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0265956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0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99396529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5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36740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2782957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0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7793540"/>
                  </a:ext>
                </a:extLst>
              </a:tr>
            </a:tbl>
          </a:graphicData>
        </a:graphic>
      </p:graphicFrame>
      <p:sp>
        <p:nvSpPr>
          <p:cNvPr id="13" name="Obdélník 12">
            <a:extLst>
              <a:ext uri="{FF2B5EF4-FFF2-40B4-BE49-F238E27FC236}">
                <a16:creationId xmlns:a16="http://schemas.microsoft.com/office/drawing/2014/main" id="{A045BA81-95DE-42BA-99D6-CBB4DCCC5501}"/>
              </a:ext>
            </a:extLst>
          </p:cNvPr>
          <p:cNvSpPr/>
          <p:nvPr/>
        </p:nvSpPr>
        <p:spPr>
          <a:xfrm>
            <a:off x="172060" y="6354140"/>
            <a:ext cx="8105165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100" dirty="0"/>
              <a:t>Do analýzy jsou zahrnuti pouze zdravotničtí pracovníci nahlášení poskytovateli zdravotnických služeb jako aktuálně zaměstnaní.</a:t>
            </a:r>
          </a:p>
          <a:p>
            <a:r>
              <a:rPr lang="cs-CZ" sz="1100" dirty="0"/>
              <a:t>Zdroj: Národní registr zdravotnických pracovníků (NRZP), ÚZIS ČR; Informační systém infekční nemoci (ISIN) </a:t>
            </a:r>
          </a:p>
        </p:txBody>
      </p:sp>
      <p:sp>
        <p:nvSpPr>
          <p:cNvPr id="14" name="TextBox 7">
            <a:extLst>
              <a:ext uri="{FF2B5EF4-FFF2-40B4-BE49-F238E27FC236}">
                <a16:creationId xmlns:a16="http://schemas.microsoft.com/office/drawing/2014/main" id="{F1F59839-6B54-4C6A-814C-0F7D2FA4596F}"/>
              </a:ext>
            </a:extLst>
          </p:cNvPr>
          <p:cNvSpPr txBox="1"/>
          <p:nvPr/>
        </p:nvSpPr>
        <p:spPr>
          <a:xfrm>
            <a:off x="267310" y="725400"/>
            <a:ext cx="53333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Lékaři </a:t>
            </a:r>
            <a:r>
              <a:rPr lang="cs-CZ" sz="1400" dirty="0"/>
              <a:t>(včetně zubních lékařů)</a:t>
            </a:r>
            <a:endParaRPr lang="cs-CZ" dirty="0"/>
          </a:p>
        </p:txBody>
      </p:sp>
      <p:graphicFrame>
        <p:nvGraphicFramePr>
          <p:cNvPr id="15" name="Chart 6">
            <a:extLst>
              <a:ext uri="{FF2B5EF4-FFF2-40B4-BE49-F238E27FC236}">
                <a16:creationId xmlns:a16="http://schemas.microsoft.com/office/drawing/2014/main" id="{04728811-3D14-4440-A95A-65B5E4851AE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11119742"/>
              </p:ext>
            </p:extLst>
          </p:nvPr>
        </p:nvGraphicFramePr>
        <p:xfrm>
          <a:off x="6185074" y="1281717"/>
          <a:ext cx="5060115" cy="51184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6" name="TextBox 7">
            <a:extLst>
              <a:ext uri="{FF2B5EF4-FFF2-40B4-BE49-F238E27FC236}">
                <a16:creationId xmlns:a16="http://schemas.microsoft.com/office/drawing/2014/main" id="{68CBEAFC-AB11-4E0B-8467-5B7AAE3834DA}"/>
              </a:ext>
            </a:extLst>
          </p:cNvPr>
          <p:cNvSpPr txBox="1"/>
          <p:nvPr/>
        </p:nvSpPr>
        <p:spPr>
          <a:xfrm>
            <a:off x="7827942" y="1079435"/>
            <a:ext cx="31761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b="1" dirty="0"/>
              <a:t>Podíl vakcinovaných (%)</a:t>
            </a:r>
          </a:p>
        </p:txBody>
      </p:sp>
      <p:graphicFrame>
        <p:nvGraphicFramePr>
          <p:cNvPr id="17" name="Tabulka 16">
            <a:extLst>
              <a:ext uri="{FF2B5EF4-FFF2-40B4-BE49-F238E27FC236}">
                <a16:creationId xmlns:a16="http://schemas.microsoft.com/office/drawing/2014/main" id="{38E50632-3864-418D-91C6-3A9FEBF812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93373688"/>
              </p:ext>
            </p:extLst>
          </p:nvPr>
        </p:nvGraphicFramePr>
        <p:xfrm>
          <a:off x="11181969" y="1244893"/>
          <a:ext cx="950976" cy="5010075"/>
        </p:xfrm>
        <a:graphic>
          <a:graphicData uri="http://schemas.openxmlformats.org/drawingml/2006/table">
            <a:tbl>
              <a:tblPr/>
              <a:tblGrid>
                <a:gridCol w="950976">
                  <a:extLst>
                    <a:ext uri="{9D8B030D-6E8A-4147-A177-3AD203B41FA5}">
                      <a16:colId xmlns:a16="http://schemas.microsoft.com/office/drawing/2014/main" val="1754736106"/>
                    </a:ext>
                  </a:extLst>
                </a:gridCol>
              </a:tblGrid>
              <a:tr h="29721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čet očkovaný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978743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7136238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8109056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9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9019969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0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4621748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3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534323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7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53104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0588264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10276534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 9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881722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5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247165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2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0265956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3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99396529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63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36740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9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2782957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8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7793540"/>
                  </a:ext>
                </a:extLst>
              </a:tr>
            </a:tbl>
          </a:graphicData>
        </a:graphic>
      </p:graphicFrame>
      <p:sp>
        <p:nvSpPr>
          <p:cNvPr id="18" name="TextBox 7">
            <a:extLst>
              <a:ext uri="{FF2B5EF4-FFF2-40B4-BE49-F238E27FC236}">
                <a16:creationId xmlns:a16="http://schemas.microsoft.com/office/drawing/2014/main" id="{0A250D1E-21AE-452B-8E14-DA72C406298D}"/>
              </a:ext>
            </a:extLst>
          </p:cNvPr>
          <p:cNvSpPr txBox="1"/>
          <p:nvPr/>
        </p:nvSpPr>
        <p:spPr>
          <a:xfrm>
            <a:off x="6442248" y="725400"/>
            <a:ext cx="53333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Sestry*</a:t>
            </a:r>
            <a:endParaRPr lang="cs-CZ" dirty="0"/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9FD5F7F0-9879-44F5-8A51-0926E63C659F}"/>
              </a:ext>
            </a:extLst>
          </p:cNvPr>
          <p:cNvSpPr/>
          <p:nvPr/>
        </p:nvSpPr>
        <p:spPr>
          <a:xfrm>
            <a:off x="8410574" y="6354140"/>
            <a:ext cx="3429002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100" b="1" dirty="0"/>
              <a:t>*Sestry</a:t>
            </a:r>
            <a:r>
              <a:rPr lang="cs-CZ" sz="1100" dirty="0"/>
              <a:t> - § 5 Všeobecná sestra, § 5a Dětská sestra, § 6 Porodní asistentka, § 21b Praktická sestra</a:t>
            </a:r>
          </a:p>
        </p:txBody>
      </p:sp>
      <p:sp>
        <p:nvSpPr>
          <p:cNvPr id="20" name="TextBox 6">
            <a:extLst>
              <a:ext uri="{FF2B5EF4-FFF2-40B4-BE49-F238E27FC236}">
                <a16:creationId xmlns:a16="http://schemas.microsoft.com/office/drawing/2014/main" id="{0D1107EB-D187-4678-AF28-2A18CAE50957}"/>
              </a:ext>
            </a:extLst>
          </p:cNvPr>
          <p:cNvSpPr txBox="1"/>
          <p:nvPr/>
        </p:nvSpPr>
        <p:spPr>
          <a:xfrm>
            <a:off x="5427835" y="596549"/>
            <a:ext cx="200977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400" b="1" dirty="0"/>
              <a:t>Stav k 25. 12. 2021 </a:t>
            </a:r>
          </a:p>
        </p:txBody>
      </p:sp>
    </p:spTree>
    <p:extLst>
      <p:ext uri="{BB962C8B-B14F-4D97-AF65-F5344CB8AC3E}">
        <p14:creationId xmlns:p14="http://schemas.microsoft.com/office/powerpoint/2010/main" val="297169615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ání zdravotnických pracovníků </a:t>
            </a: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552450" y="833301"/>
            <a:ext cx="11039475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ezi skupinami zdravotnických pracovníků je nejnižší proočkovanost u nelékařských zdravotnických pracovníků, která dosahuje 81 %.</a:t>
            </a: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173256" y="3241554"/>
            <a:ext cx="11853702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př. profese sanitáře a fyzioterapeuta patřila mezi nejčastěji nakažené, jak dokládají reprezentativní data. Přitom jde o pracovníky s velkým počtem kontaktů ve zdravotnických zařízeních. Posílení očkování i u těchto zdravotnických profesí je potřebné. </a:t>
            </a:r>
          </a:p>
        </p:txBody>
      </p:sp>
      <p:sp>
        <p:nvSpPr>
          <p:cNvPr id="11" name="Šipka dolů 10"/>
          <p:cNvSpPr/>
          <p:nvPr/>
        </p:nvSpPr>
        <p:spPr>
          <a:xfrm>
            <a:off x="5289224" y="6024699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Šipka dolů 11"/>
          <p:cNvSpPr/>
          <p:nvPr/>
        </p:nvSpPr>
        <p:spPr>
          <a:xfrm>
            <a:off x="5289224" y="2568347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233007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Graf 17">
            <a:extLst>
              <a:ext uri="{FF2B5EF4-FFF2-40B4-BE49-F238E27FC236}">
                <a16:creationId xmlns:a16="http://schemas.microsoft.com/office/drawing/2014/main" id="{67714BB1-BEFB-4B6A-BA4B-87D00EC0BC8B}"/>
              </a:ext>
            </a:extLst>
          </p:cNvPr>
          <p:cNvGraphicFramePr/>
          <p:nvPr/>
        </p:nvGraphicFramePr>
        <p:xfrm>
          <a:off x="40511" y="729673"/>
          <a:ext cx="11855235" cy="58673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D287B611-02D0-49D2-B339-A7B816C3C828}"/>
              </a:ext>
            </a:extLst>
          </p:cNvPr>
          <p:cNvSpPr txBox="1"/>
          <p:nvPr/>
        </p:nvSpPr>
        <p:spPr>
          <a:xfrm>
            <a:off x="2162175" y="6583202"/>
            <a:ext cx="766548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stém, ISIN – Informační systém infekční nemocí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CE02CAE-4282-4A4F-990C-53954F77CB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557303" cy="576000"/>
          </a:xfrm>
        </p:spPr>
        <p:txBody>
          <a:bodyPr/>
          <a:lstStyle/>
          <a:p>
            <a:r>
              <a:rPr lang="cs-CZ" dirty="0"/>
              <a:t>Přehled povolání u COVID-19 pozitivních ostatních zdravotnických pracovníků za období 01-12 / 2021 k 25. 12.</a:t>
            </a:r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FDB5357A-74B2-4F73-9151-19DFF199B935}"/>
              </a:ext>
            </a:extLst>
          </p:cNvPr>
          <p:cNvSpPr/>
          <p:nvPr/>
        </p:nvSpPr>
        <p:spPr>
          <a:xfrm>
            <a:off x="261654" y="846827"/>
            <a:ext cx="380104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ty známých pracovních pozic</a:t>
            </a:r>
          </a:p>
        </p:txBody>
      </p:sp>
      <p:sp>
        <p:nvSpPr>
          <p:cNvPr id="8" name="TextBox 6">
            <a:extLst>
              <a:ext uri="{FF2B5EF4-FFF2-40B4-BE49-F238E27FC236}">
                <a16:creationId xmlns:a16="http://schemas.microsoft.com/office/drawing/2014/main" id="{0553929A-22E7-4A3C-B2A6-F2301789E83D}"/>
              </a:ext>
            </a:extLst>
          </p:cNvPr>
          <p:cNvSpPr txBox="1"/>
          <p:nvPr/>
        </p:nvSpPr>
        <p:spPr>
          <a:xfrm>
            <a:off x="9847292" y="6560118"/>
            <a:ext cx="200977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200" b="1" dirty="0"/>
              <a:t>Stav k 25. 12. 2021</a:t>
            </a:r>
          </a:p>
        </p:txBody>
      </p:sp>
    </p:spTree>
    <p:extLst>
      <p:ext uri="{BB962C8B-B14F-4D97-AF65-F5344CB8AC3E}">
        <p14:creationId xmlns:p14="http://schemas.microsoft.com/office/powerpoint/2010/main" val="406215950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Graf 17">
            <a:extLst>
              <a:ext uri="{FF2B5EF4-FFF2-40B4-BE49-F238E27FC236}">
                <a16:creationId xmlns:a16="http://schemas.microsoft.com/office/drawing/2014/main" id="{67714BB1-BEFB-4B6A-BA4B-87D00EC0BC8B}"/>
              </a:ext>
            </a:extLst>
          </p:cNvPr>
          <p:cNvGraphicFramePr/>
          <p:nvPr/>
        </p:nvGraphicFramePr>
        <p:xfrm>
          <a:off x="40511" y="729673"/>
          <a:ext cx="11855235" cy="58673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D287B611-02D0-49D2-B339-A7B816C3C828}"/>
              </a:ext>
            </a:extLst>
          </p:cNvPr>
          <p:cNvSpPr txBox="1"/>
          <p:nvPr/>
        </p:nvSpPr>
        <p:spPr>
          <a:xfrm>
            <a:off x="2162175" y="6583202"/>
            <a:ext cx="766548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stém, ISIN – Informační systém infekční nemocí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CE02CAE-4282-4A4F-990C-53954F77CB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557303" cy="576000"/>
          </a:xfrm>
        </p:spPr>
        <p:txBody>
          <a:bodyPr/>
          <a:lstStyle/>
          <a:p>
            <a:r>
              <a:rPr lang="cs-CZ" dirty="0"/>
              <a:t>Přehled povolání u COVID-19 pozitivních ostatních zdravotnických pracovníků za období 10-12 / 2021 k 25. 12.</a:t>
            </a:r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FDB5357A-74B2-4F73-9151-19DFF199B935}"/>
              </a:ext>
            </a:extLst>
          </p:cNvPr>
          <p:cNvSpPr/>
          <p:nvPr/>
        </p:nvSpPr>
        <p:spPr>
          <a:xfrm>
            <a:off x="261654" y="846827"/>
            <a:ext cx="380104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ty známých pracovních pozic</a:t>
            </a: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CE819702-3927-4B90-94FB-62346EEA34F0}"/>
              </a:ext>
            </a:extLst>
          </p:cNvPr>
          <p:cNvSpPr txBox="1"/>
          <p:nvPr/>
        </p:nvSpPr>
        <p:spPr>
          <a:xfrm>
            <a:off x="9847292" y="6560118"/>
            <a:ext cx="200977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200" b="1" dirty="0"/>
              <a:t>Stav k 25. 12. 2021</a:t>
            </a:r>
          </a:p>
        </p:txBody>
      </p:sp>
    </p:spTree>
    <p:extLst>
      <p:ext uri="{BB962C8B-B14F-4D97-AF65-F5344CB8AC3E}">
        <p14:creationId xmlns:p14="http://schemas.microsoft.com/office/powerpoint/2010/main" val="77491952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aktivní zdravotničtí pracovníci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B5F8F24A-407C-46C2-BF8F-7094A798CF34}"/>
              </a:ext>
            </a:extLst>
          </p:cNvPr>
          <p:cNvSpPr/>
          <p:nvPr/>
        </p:nvSpPr>
        <p:spPr>
          <a:xfrm>
            <a:off x="331021" y="5689889"/>
            <a:ext cx="11454102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  <a:p>
            <a:pPr>
              <a:defRPr/>
            </a:pPr>
            <a:r>
              <a:rPr lang="cs-CZ" sz="1100" dirty="0">
                <a:solidFill>
                  <a:srgbClr val="000000"/>
                </a:solidFill>
              </a:rPr>
              <a:t>** Počet zdravotnických pracovníků nahlášených do NZIS (Národní registr zdravotnických pracovníků – NRZP) poskytovateli zdravotních služeb jako aktivní v období od 1.9.2021 do současnosti.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309541" y="621246"/>
            <a:ext cx="1156130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Počet zdravotnických pracovníků (ZP) dle hlášení povinných subjektů do NRZP** (vzdělávací instituce, poskytovatelé). Celkový počet ZP zahrnuje osoby s odpovídající odbornou způsobilostí pro výkony ZP* a žijící k danému datu. V této analýze jsou zahrnuti ZP, u kterých poskytovatelé zdravotních služeb nahlásili jejich aktivní výkon zaměstnání (v ambulantním sektoru mohou být tyto počty mírně nedohlášené). </a:t>
            </a:r>
          </a:p>
        </p:txBody>
      </p:sp>
      <p:sp>
        <p:nvSpPr>
          <p:cNvPr id="12" name="TextBox 6">
            <a:extLst>
              <a:ext uri="{FF2B5EF4-FFF2-40B4-BE49-F238E27FC236}">
                <a16:creationId xmlns:a16="http://schemas.microsoft.com/office/drawing/2014/main" id="{7A968ED8-B7A5-4B68-AF27-DAE3E4FFEDCD}"/>
              </a:ext>
            </a:extLst>
          </p:cNvPr>
          <p:cNvSpPr txBox="1"/>
          <p:nvPr/>
        </p:nvSpPr>
        <p:spPr>
          <a:xfrm>
            <a:off x="6096000" y="125783"/>
            <a:ext cx="20097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600" b="1" dirty="0">
                <a:solidFill>
                  <a:srgbClr val="FFFFFF"/>
                </a:solidFill>
              </a:rPr>
              <a:t>Stav k 25. 12. 2021 </a:t>
            </a:r>
          </a:p>
        </p:txBody>
      </p:sp>
      <p:graphicFrame>
        <p:nvGraphicFramePr>
          <p:cNvPr id="13" name="Tabulka 12">
            <a:extLst>
              <a:ext uri="{FF2B5EF4-FFF2-40B4-BE49-F238E27FC236}">
                <a16:creationId xmlns:a16="http://schemas.microsoft.com/office/drawing/2014/main" id="{9EBA9451-7A3F-4EF9-93DD-7094F620D3D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25111014"/>
              </p:ext>
            </p:extLst>
          </p:nvPr>
        </p:nvGraphicFramePr>
        <p:xfrm>
          <a:off x="356585" y="1390933"/>
          <a:ext cx="11273440" cy="427385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567965">
                  <a:extLst>
                    <a:ext uri="{9D8B030D-6E8A-4147-A177-3AD203B41FA5}">
                      <a16:colId xmlns:a16="http://schemas.microsoft.com/office/drawing/2014/main" val="2651665098"/>
                    </a:ext>
                  </a:extLst>
                </a:gridCol>
                <a:gridCol w="1901825">
                  <a:extLst>
                    <a:ext uri="{9D8B030D-6E8A-4147-A177-3AD203B41FA5}">
                      <a16:colId xmlns:a16="http://schemas.microsoft.com/office/drawing/2014/main" val="3939455336"/>
                    </a:ext>
                  </a:extLst>
                </a:gridCol>
                <a:gridCol w="1901825">
                  <a:extLst>
                    <a:ext uri="{9D8B030D-6E8A-4147-A177-3AD203B41FA5}">
                      <a16:colId xmlns:a16="http://schemas.microsoft.com/office/drawing/2014/main" val="2226907532"/>
                    </a:ext>
                  </a:extLst>
                </a:gridCol>
                <a:gridCol w="1901825">
                  <a:extLst>
                    <a:ext uri="{9D8B030D-6E8A-4147-A177-3AD203B41FA5}">
                      <a16:colId xmlns:a16="http://schemas.microsoft.com/office/drawing/2014/main" val="2183727549"/>
                    </a:ext>
                  </a:extLst>
                </a:gridCol>
              </a:tblGrid>
              <a:tr h="68436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dirty="0"/>
                        <a:t>Zdravotničtí pracovníci </a:t>
                      </a:r>
                    </a:p>
                    <a:p>
                      <a:pPr algn="l" fontAlgn="ctr"/>
                      <a:r>
                        <a:rPr lang="cs-CZ" sz="1600" dirty="0"/>
                        <a:t>evidovaní v NZIS**</a:t>
                      </a:r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 dirty="0">
                          <a:effectLst/>
                        </a:rPr>
                        <a:t>Počet aktivních zdravotnických pracovníků**</a:t>
                      </a:r>
                      <a:endParaRPr lang="cs-CZ" sz="16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u="none" strike="noStrike" dirty="0">
                          <a:effectLst/>
                        </a:rPr>
                        <a:t>Počet očkovaných</a:t>
                      </a:r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u="none" strike="noStrike" dirty="0">
                          <a:effectLst/>
                        </a:rPr>
                        <a:t>Podíl očkovaných</a:t>
                      </a:r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3304470326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rmaceuti</a:t>
                      </a:r>
                    </a:p>
                    <a:p>
                      <a:pPr algn="l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farmaceut, § 19 Farmaceutický asistent)</a:t>
                      </a:r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28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32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,3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85223301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36 Ošetřovatel</a:t>
                      </a: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68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,4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1230907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42 Sanitář</a:t>
                      </a: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85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09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,6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12447989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18 Zdravotnický záchranář</a:t>
                      </a: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4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0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6,0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83551337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24 Fyzioterapeut</a:t>
                      </a: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29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05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,9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17754198"/>
                  </a:ext>
                </a:extLst>
              </a:tr>
              <a:tr h="52218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boratorní pracovníci</a:t>
                      </a:r>
                    </a:p>
                    <a:p>
                      <a:pPr algn="l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§ 8 Radiologický asistent, § 9 Zdravotní laborant, § 26 Odborný pracovník v laboratorních metodách a v přípravě léčivých přípravků, § 30 Laboratorní asistent, § 41 Autoptický laborant)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69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07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,2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30714590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statní NLZP</a:t>
                      </a: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2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17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,9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18325100"/>
                  </a:ext>
                </a:extLst>
              </a:tr>
            </a:tbl>
          </a:graphicData>
        </a:graphic>
      </p:graphicFrame>
      <p:sp>
        <p:nvSpPr>
          <p:cNvPr id="11" name="Obdélník 10">
            <a:extLst>
              <a:ext uri="{FF2B5EF4-FFF2-40B4-BE49-F238E27FC236}">
                <a16:creationId xmlns:a16="http://schemas.microsoft.com/office/drawing/2014/main" id="{6BEBD7D0-42BD-498C-808F-66E0FCBEB10D}"/>
              </a:ext>
            </a:extLst>
          </p:cNvPr>
          <p:cNvSpPr/>
          <p:nvPr/>
        </p:nvSpPr>
        <p:spPr>
          <a:xfrm>
            <a:off x="1733551" y="6575571"/>
            <a:ext cx="828039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</p:spTree>
    <p:extLst>
      <p:ext uri="{BB962C8B-B14F-4D97-AF65-F5344CB8AC3E}">
        <p14:creationId xmlns:p14="http://schemas.microsoft.com/office/powerpoint/2010/main" val="243583781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ulka 5">
            <a:extLst>
              <a:ext uri="{FF2B5EF4-FFF2-40B4-BE49-F238E27FC236}">
                <a16:creationId xmlns:a16="http://schemas.microsoft.com/office/drawing/2014/main" id="{EF5145A8-D8C3-4AC6-AC2C-CD5328B1F37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88225629"/>
              </p:ext>
            </p:extLst>
          </p:nvPr>
        </p:nvGraphicFramePr>
        <p:xfrm>
          <a:off x="1943099" y="1600994"/>
          <a:ext cx="9946013" cy="4555950"/>
        </p:xfrm>
        <a:graphic>
          <a:graphicData uri="http://schemas.openxmlformats.org/drawingml/2006/table">
            <a:tbl>
              <a:tblPr/>
              <a:tblGrid>
                <a:gridCol w="1420859">
                  <a:extLst>
                    <a:ext uri="{9D8B030D-6E8A-4147-A177-3AD203B41FA5}">
                      <a16:colId xmlns:a16="http://schemas.microsoft.com/office/drawing/2014/main" val="4055826466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3282225933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749314979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2870705710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3677930841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2324454805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2975045381"/>
                    </a:ext>
                  </a:extLst>
                </a:gridCol>
              </a:tblGrid>
              <a:tr h="30373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1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4E8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EA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4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D7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DD4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0499920"/>
                  </a:ext>
                </a:extLst>
              </a:tr>
              <a:tr h="30373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4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AE1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BCE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0E2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D7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3C87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1577250"/>
                  </a:ext>
                </a:extLst>
              </a:tr>
              <a:tr h="30373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BD8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D7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2D0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E6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ED4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6658751"/>
                  </a:ext>
                </a:extLst>
              </a:tr>
              <a:tr h="30373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5D1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5DF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2D1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4DF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3D5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1D5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5395840"/>
                  </a:ext>
                </a:extLst>
              </a:tr>
              <a:tr h="30373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BD8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57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6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1E7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87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3DA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4850116"/>
                  </a:ext>
                </a:extLst>
              </a:tr>
              <a:tr h="30373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A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E4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ED4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6DF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6DF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79259827"/>
                  </a:ext>
                </a:extLst>
              </a:tr>
              <a:tr h="30373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77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2D1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F6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1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0D5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7778062"/>
                  </a:ext>
                </a:extLst>
              </a:tr>
              <a:tr h="30373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BDC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E7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07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6D2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B7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EDD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4782053"/>
                  </a:ext>
                </a:extLst>
              </a:tr>
              <a:tr h="30373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3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57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07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27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47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E6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8426765"/>
                  </a:ext>
                </a:extLst>
              </a:tr>
              <a:tr h="30373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2CC7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5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4DF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B7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7D2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5050726"/>
                  </a:ext>
                </a:extLst>
              </a:tr>
              <a:tr h="30373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97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C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2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C7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E8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08515168"/>
                  </a:ext>
                </a:extLst>
              </a:tr>
              <a:tr h="30373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CE6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B7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37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B7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57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97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57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7321047"/>
                  </a:ext>
                </a:extLst>
              </a:tr>
              <a:tr h="30373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CDD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67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97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57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B7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57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57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015475"/>
                  </a:ext>
                </a:extLst>
              </a:tr>
              <a:tr h="30373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4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47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A7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EE2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A6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47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866930"/>
                  </a:ext>
                </a:extLst>
              </a:tr>
              <a:tr h="30373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EE6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F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2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C7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3E3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7053935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538" y="0"/>
            <a:ext cx="8037065" cy="576000"/>
          </a:xfrm>
        </p:spPr>
        <p:txBody>
          <a:bodyPr/>
          <a:lstStyle/>
          <a:p>
            <a:r>
              <a:rPr lang="cs-CZ" dirty="0"/>
              <a:t>Očkovaní NLZP v nemocnicích akutní lůžkové péče a ZZS</a:t>
            </a:r>
          </a:p>
        </p:txBody>
      </p:sp>
      <p:sp>
        <p:nvSpPr>
          <p:cNvPr id="13" name="Obdélník 12">
            <a:extLst>
              <a:ext uri="{FF2B5EF4-FFF2-40B4-BE49-F238E27FC236}">
                <a16:creationId xmlns:a16="http://schemas.microsoft.com/office/drawing/2014/main" id="{A045BA81-95DE-42BA-99D6-CBB4DCCC5501}"/>
              </a:ext>
            </a:extLst>
          </p:cNvPr>
          <p:cNvSpPr/>
          <p:nvPr/>
        </p:nvSpPr>
        <p:spPr>
          <a:xfrm>
            <a:off x="172060" y="6401765"/>
            <a:ext cx="11753240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sz="1100" dirty="0"/>
              <a:t>Do analýzy jsou zahrnuti pouze zdravotničtí pracovníci nahlášení poskytovateli zdravotnických služeb jako aktuálně zaměstnaní.</a:t>
            </a:r>
          </a:p>
          <a:p>
            <a:pPr algn="ctr"/>
            <a:r>
              <a:rPr lang="cs-CZ" sz="1100" dirty="0"/>
              <a:t>Zdroj: Národní registr zdravotnických pracovníků (NRZP), ÚZIS ČR; Informační systém infekční nemoci (ISIN) </a:t>
            </a:r>
          </a:p>
        </p:txBody>
      </p:sp>
      <p:sp>
        <p:nvSpPr>
          <p:cNvPr id="20" name="TextBox 6">
            <a:extLst>
              <a:ext uri="{FF2B5EF4-FFF2-40B4-BE49-F238E27FC236}">
                <a16:creationId xmlns:a16="http://schemas.microsoft.com/office/drawing/2014/main" id="{0D1107EB-D187-4678-AF28-2A18CAE50957}"/>
              </a:ext>
            </a:extLst>
          </p:cNvPr>
          <p:cNvSpPr txBox="1"/>
          <p:nvPr/>
        </p:nvSpPr>
        <p:spPr>
          <a:xfrm>
            <a:off x="297312" y="614100"/>
            <a:ext cx="19696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b="1" dirty="0"/>
              <a:t>Stav k 25. 12. 2021 </a:t>
            </a: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002BA253-3FCF-4619-85EA-CE8807BFEB8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8230628"/>
              </p:ext>
            </p:extLst>
          </p:nvPr>
        </p:nvGraphicFramePr>
        <p:xfrm>
          <a:off x="302889" y="921878"/>
          <a:ext cx="11586222" cy="5235072"/>
        </p:xfrm>
        <a:graphic>
          <a:graphicData uri="http://schemas.openxmlformats.org/drawingml/2006/table">
            <a:tbl>
              <a:tblPr/>
              <a:tblGrid>
                <a:gridCol w="1640944">
                  <a:extLst>
                    <a:ext uri="{9D8B030D-6E8A-4147-A177-3AD203B41FA5}">
                      <a16:colId xmlns:a16="http://schemas.microsoft.com/office/drawing/2014/main" val="974880782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2441195149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2349922488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1048032588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2857566558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2038756237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134387120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3794948740"/>
                    </a:ext>
                  </a:extLst>
                </a:gridCol>
              </a:tblGrid>
              <a:tr h="657859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očet očkovaných alespoň jednou dávkou (podíl ze všech pracovníků daného povolání)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rmaceuti</a:t>
                      </a:r>
                    </a:p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farmaceut, § 19 Farmaceutický asistent)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§ 36 Ošetřovatel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§ 42 Sanitář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§ 18 Zdravotnický záchranář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§ 24 Fyzioterapeut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boratorní pracovníci *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NLZP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48253265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7 (8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4 (8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456 (8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3 (84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3 (85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80 (88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0 (8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79527979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9 (83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 (85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54 (8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9 (89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2 (85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7 (88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9 (9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3261609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 (8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 (8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5 (83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1 (89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1 (8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6 (83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4 (8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89404468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 (89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4 (8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17 (8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2 (89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 (8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2 (8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5 (88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5881402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8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 (7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0 (8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 (8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(79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 (84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4 (87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10782105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 (92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2 (84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57 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7 (88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 (83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6 (8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6 (8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62802116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 (8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 (77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0 (8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4 (89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 (72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8 (8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0 (88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77428449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 (8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 (8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1 (81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4 (8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 (7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7 (7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3 (8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20309455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 (8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77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1 (78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 (8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 (7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5 (7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6 (8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11198027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 (9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 (8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8 (85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4 (8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 (84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6 (79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9 (8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83674140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9 (7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 (7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480 (8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7 (8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6 (8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86 (8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6 (8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43397029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 (8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 (7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9 (7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3 (7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6 (76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5 (7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0 (7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37693671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(8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3 (79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8 (7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9 (76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(78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7 (76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9 (74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907469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3 (85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08 (75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42 (79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1 (86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4 (71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1 (7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5 (8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710140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142 (8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345 (8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198 (82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924 (86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04 (8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168 (8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696 (85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64919212"/>
                  </a:ext>
                </a:extLst>
              </a:tr>
            </a:tbl>
          </a:graphicData>
        </a:graphic>
      </p:graphicFrame>
      <p:sp>
        <p:nvSpPr>
          <p:cNvPr id="7" name="Obdélník 6">
            <a:extLst>
              <a:ext uri="{FF2B5EF4-FFF2-40B4-BE49-F238E27FC236}">
                <a16:creationId xmlns:a16="http://schemas.microsoft.com/office/drawing/2014/main" id="{EE8DF9DD-84CF-4A37-A410-0264FC601949}"/>
              </a:ext>
            </a:extLst>
          </p:cNvPr>
          <p:cNvSpPr/>
          <p:nvPr/>
        </p:nvSpPr>
        <p:spPr>
          <a:xfrm>
            <a:off x="1476376" y="6151138"/>
            <a:ext cx="10544480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 § 8 Radiologický asistent, § 9 Zdravotní laborant, § 26 Odborný pracovník v laboratorních metodách a v přípravě léčivých přípravků, § 30 Laboratorní asistent, § 41 Autoptický laborant</a:t>
            </a:r>
            <a:endParaRPr lang="cs-CZ" sz="1000" dirty="0"/>
          </a:p>
        </p:txBody>
      </p:sp>
    </p:spTree>
    <p:extLst>
      <p:ext uri="{BB962C8B-B14F-4D97-AF65-F5344CB8AC3E}">
        <p14:creationId xmlns:p14="http://schemas.microsoft.com/office/powerpoint/2010/main" val="341485356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ulka 5">
            <a:extLst>
              <a:ext uri="{FF2B5EF4-FFF2-40B4-BE49-F238E27FC236}">
                <a16:creationId xmlns:a16="http://schemas.microsoft.com/office/drawing/2014/main" id="{AAE0AF53-5222-409A-A643-0F4DC278169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76281280"/>
              </p:ext>
            </p:extLst>
          </p:nvPr>
        </p:nvGraphicFramePr>
        <p:xfrm>
          <a:off x="2419350" y="1353343"/>
          <a:ext cx="9600585" cy="4476186"/>
        </p:xfrm>
        <a:graphic>
          <a:graphicData uri="http://schemas.openxmlformats.org/drawingml/2006/table">
            <a:tbl>
              <a:tblPr/>
              <a:tblGrid>
                <a:gridCol w="640039">
                  <a:extLst>
                    <a:ext uri="{9D8B030D-6E8A-4147-A177-3AD203B41FA5}">
                      <a16:colId xmlns:a16="http://schemas.microsoft.com/office/drawing/2014/main" val="3533414003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42996037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075900199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979836846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542482225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672249811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37686190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929497572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454836465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794217012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376385154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235871772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094042057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72066989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794699876"/>
                    </a:ext>
                  </a:extLst>
                </a:gridCol>
              </a:tblGrid>
              <a:tr h="344322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C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4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B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B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5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0492900"/>
                  </a:ext>
                </a:extLst>
              </a:tr>
              <a:tr h="344322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A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F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5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8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9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B7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0405075"/>
                  </a:ext>
                </a:extLst>
              </a:tr>
              <a:tr h="344322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77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0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E7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F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7993078"/>
                  </a:ext>
                </a:extLst>
              </a:tr>
              <a:tr h="344322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67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4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0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F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2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5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3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D7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30098309"/>
                  </a:ext>
                </a:extLst>
              </a:tr>
              <a:tr h="344322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6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5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E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6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7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1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BD8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ED0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DCA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8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4DF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5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E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9D7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5157944"/>
                  </a:ext>
                </a:extLst>
              </a:tr>
              <a:tr h="344322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ACE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3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6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4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6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5DF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1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7C4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3DF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3880726"/>
                  </a:ext>
                </a:extLst>
              </a:tr>
              <a:tr h="344322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B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A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B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E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8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B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6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7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1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87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27520990"/>
                  </a:ext>
                </a:extLst>
              </a:tr>
              <a:tr h="344322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E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6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7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FCB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AD8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F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BCF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2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ACE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3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FDD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90981837"/>
                  </a:ext>
                </a:extLst>
              </a:tr>
              <a:tr h="344322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3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F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BD8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E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C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F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4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1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1E7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2908937"/>
                  </a:ext>
                </a:extLst>
              </a:tr>
              <a:tr h="344322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E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3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7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E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3391462"/>
                  </a:ext>
                </a:extLst>
              </a:tr>
              <a:tr h="344322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5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7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CD3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E9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9818949"/>
                  </a:ext>
                </a:extLst>
              </a:tr>
              <a:tr h="344322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05216716"/>
                  </a:ext>
                </a:extLst>
              </a:tr>
              <a:tr h="344322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6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67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2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0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1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43165697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538" y="0"/>
            <a:ext cx="8284712" cy="576000"/>
          </a:xfrm>
        </p:spPr>
        <p:txBody>
          <a:bodyPr/>
          <a:lstStyle/>
          <a:p>
            <a:r>
              <a:rPr lang="cs-CZ" dirty="0"/>
              <a:t>Očkovaní lékaři* podle typu zdravotnického zařízení</a:t>
            </a:r>
          </a:p>
        </p:txBody>
      </p:sp>
      <p:sp>
        <p:nvSpPr>
          <p:cNvPr id="20" name="TextBox 6">
            <a:extLst>
              <a:ext uri="{FF2B5EF4-FFF2-40B4-BE49-F238E27FC236}">
                <a16:creationId xmlns:a16="http://schemas.microsoft.com/office/drawing/2014/main" id="{0D1107EB-D187-4678-AF28-2A18CAE50957}"/>
              </a:ext>
            </a:extLst>
          </p:cNvPr>
          <p:cNvSpPr txBox="1"/>
          <p:nvPr/>
        </p:nvSpPr>
        <p:spPr>
          <a:xfrm>
            <a:off x="10001250" y="6540606"/>
            <a:ext cx="20186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b="1" dirty="0"/>
              <a:t>Stav k 25. 12. 2021 </a:t>
            </a:r>
          </a:p>
        </p:txBody>
      </p:sp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CD48C377-98E3-4540-BFE1-BA921AC0BAE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37759742"/>
              </p:ext>
            </p:extLst>
          </p:nvPr>
        </p:nvGraphicFramePr>
        <p:xfrm>
          <a:off x="172060" y="835886"/>
          <a:ext cx="11847876" cy="4993645"/>
        </p:xfrm>
        <a:graphic>
          <a:graphicData uri="http://schemas.openxmlformats.org/drawingml/2006/table">
            <a:tbl>
              <a:tblPr/>
              <a:tblGrid>
                <a:gridCol w="2249451">
                  <a:extLst>
                    <a:ext uri="{9D8B030D-6E8A-4147-A177-3AD203B41FA5}">
                      <a16:colId xmlns:a16="http://schemas.microsoft.com/office/drawing/2014/main" val="652507569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47748259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314989255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113365653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707313385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614584230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645035601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58888292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171033188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92254120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416196272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1768927368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636322451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25140668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05452820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575082524"/>
                    </a:ext>
                  </a:extLst>
                </a:gridCol>
              </a:tblGrid>
              <a:tr h="43493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čkovaných alespoň jednou dávkou (podíl ze všech pracovníků daného povolání)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B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YS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M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*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48974545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akutní péč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13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96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9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5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5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6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69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6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23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581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03397526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následné peče a jiná lůžkov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13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7148793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ychiatric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4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5978599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ázeňs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9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681261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ospělé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743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99956148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ěti a dorost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66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48753742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zubního léka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4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21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116938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gynekolog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7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84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346325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lékaře specialist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02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105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94938465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pt-B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ambulantní zařízení a laborato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2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110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2312617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dravotnická záchranná služb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39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1399744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ékár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24247117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zdravotnick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7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3</a:t>
                      </a:r>
                      <a:b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5943844"/>
                  </a:ext>
                </a:extLst>
              </a:tr>
            </a:tbl>
          </a:graphicData>
        </a:graphic>
      </p:graphicFrame>
      <p:sp>
        <p:nvSpPr>
          <p:cNvPr id="18" name="Obdélník 17">
            <a:extLst>
              <a:ext uri="{FF2B5EF4-FFF2-40B4-BE49-F238E27FC236}">
                <a16:creationId xmlns:a16="http://schemas.microsoft.com/office/drawing/2014/main" id="{807777C6-243E-41FA-BD00-EE19544600CE}"/>
              </a:ext>
            </a:extLst>
          </p:cNvPr>
          <p:cNvSpPr/>
          <p:nvPr/>
        </p:nvSpPr>
        <p:spPr>
          <a:xfrm>
            <a:off x="119367" y="6013803"/>
            <a:ext cx="11953265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Lékaři včetně zubních lékařů; jedna osoba může pracovat ve více krajích </a:t>
            </a:r>
            <a:r>
              <a:rPr lang="cs-CZ" sz="1100" dirty="0">
                <a:solidFill>
                  <a:srgbClr val="000000"/>
                </a:solidFill>
              </a:rPr>
              <a:t>a ve více typech zdravotnických zařízení. 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 analýzy jsou zahrnuti pouze zdravotničtí pracovníci nahlášení poskytovateli zdravotnických služeb jako aktuálně zaměstnaní. Výsledky mohou být ovlivněny úplností hlášení poskytovatelů zdravotních služeb do NRZP.</a:t>
            </a:r>
          </a:p>
        </p:txBody>
      </p:sp>
      <p:sp>
        <p:nvSpPr>
          <p:cNvPr id="21" name="Obdélník 20">
            <a:extLst>
              <a:ext uri="{FF2B5EF4-FFF2-40B4-BE49-F238E27FC236}">
                <a16:creationId xmlns:a16="http://schemas.microsoft.com/office/drawing/2014/main" id="{74028100-6752-4BD6-8757-694F3E498E25}"/>
              </a:ext>
            </a:extLst>
          </p:cNvPr>
          <p:cNvSpPr/>
          <p:nvPr/>
        </p:nvSpPr>
        <p:spPr>
          <a:xfrm>
            <a:off x="172060" y="6573215"/>
            <a:ext cx="1019114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registr zdravotnických pracovníků (NRZP), ÚZIS ČR; Informační systém infekční nemoci (ISIN) </a:t>
            </a:r>
          </a:p>
        </p:txBody>
      </p:sp>
    </p:spTree>
    <p:extLst>
      <p:ext uri="{BB962C8B-B14F-4D97-AF65-F5344CB8AC3E}">
        <p14:creationId xmlns:p14="http://schemas.microsoft.com/office/powerpoint/2010/main" val="221484929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EAF04B53-5FE8-4903-B1D3-2E2DE6937B8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6509836"/>
              </p:ext>
            </p:extLst>
          </p:nvPr>
        </p:nvGraphicFramePr>
        <p:xfrm>
          <a:off x="2419350" y="1343819"/>
          <a:ext cx="9600585" cy="4485715"/>
        </p:xfrm>
        <a:graphic>
          <a:graphicData uri="http://schemas.openxmlformats.org/drawingml/2006/table">
            <a:tbl>
              <a:tblPr/>
              <a:tblGrid>
                <a:gridCol w="640039">
                  <a:extLst>
                    <a:ext uri="{9D8B030D-6E8A-4147-A177-3AD203B41FA5}">
                      <a16:colId xmlns:a16="http://schemas.microsoft.com/office/drawing/2014/main" val="2010111462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768879228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252567594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019189689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996993747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833515851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913019674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074595447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562723925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878437588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061306402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546722791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503625948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482154824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362682968"/>
                    </a:ext>
                  </a:extLst>
                </a:gridCol>
              </a:tblGrid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1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B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47185681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7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4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8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6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5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2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7308378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A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6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0D0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2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3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6360553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A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8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9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8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ED4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E7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FD4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9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8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A7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34298982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E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7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B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9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7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8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6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3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E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0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ED4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2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E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ED9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94295015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1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3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3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ECF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0CB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0D0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3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3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3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E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4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CDD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42144418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B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0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2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0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71878123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B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4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B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CCF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BD8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1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7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4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5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91700109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E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F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5DF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E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0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E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94471230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6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3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66247543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2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4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BCE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D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6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BE6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2785468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3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706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AD7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787368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C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ACA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BD3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6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D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3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3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892965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538" y="0"/>
            <a:ext cx="8284712" cy="576000"/>
          </a:xfrm>
        </p:spPr>
        <p:txBody>
          <a:bodyPr/>
          <a:lstStyle/>
          <a:p>
            <a:r>
              <a:rPr lang="cs-CZ" dirty="0"/>
              <a:t>Očkované sestry* podle typu zdravotnického zařízení</a:t>
            </a:r>
          </a:p>
        </p:txBody>
      </p:sp>
      <p:sp>
        <p:nvSpPr>
          <p:cNvPr id="18" name="Obdélník 17">
            <a:extLst>
              <a:ext uri="{FF2B5EF4-FFF2-40B4-BE49-F238E27FC236}">
                <a16:creationId xmlns:a16="http://schemas.microsoft.com/office/drawing/2014/main" id="{807777C6-243E-41FA-BD00-EE19544600CE}"/>
              </a:ext>
            </a:extLst>
          </p:cNvPr>
          <p:cNvSpPr/>
          <p:nvPr/>
        </p:nvSpPr>
        <p:spPr>
          <a:xfrm>
            <a:off x="119367" y="6013803"/>
            <a:ext cx="11953265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§ 5 Všeobecná sestra, § 5a Dětská sestra, § 6 Porodní asistentka, § 21b Praktická sestra; jedna osoba může pracovat ve více krajích </a:t>
            </a:r>
            <a:r>
              <a:rPr lang="cs-CZ" sz="1100" dirty="0">
                <a:solidFill>
                  <a:srgbClr val="000000"/>
                </a:solidFill>
              </a:rPr>
              <a:t>a ve více typech zdravotnických zařízení.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 analýzy jsou zahrnuti pouze zdravotničtí pracovníci nahlášení poskytovateli zdravotnických služeb jako aktuálně zaměstnaní. Výsledky mohou být ovlivněny úplností hlášení poskytovatelů zdravotních služeb do NRZP.</a:t>
            </a:r>
          </a:p>
        </p:txBody>
      </p:sp>
      <p:sp>
        <p:nvSpPr>
          <p:cNvPr id="21" name="Obdélník 20">
            <a:extLst>
              <a:ext uri="{FF2B5EF4-FFF2-40B4-BE49-F238E27FC236}">
                <a16:creationId xmlns:a16="http://schemas.microsoft.com/office/drawing/2014/main" id="{74028100-6752-4BD6-8757-694F3E498E25}"/>
              </a:ext>
            </a:extLst>
          </p:cNvPr>
          <p:cNvSpPr/>
          <p:nvPr/>
        </p:nvSpPr>
        <p:spPr>
          <a:xfrm>
            <a:off x="172060" y="6573215"/>
            <a:ext cx="1019114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registr zdravotnických pracovníků (NRZP), ÚZIS ČR; Informační systém infekční nemoci (ISIN) </a:t>
            </a:r>
          </a:p>
        </p:txBody>
      </p:sp>
      <p:sp>
        <p:nvSpPr>
          <p:cNvPr id="9" name="TextBox 6">
            <a:extLst>
              <a:ext uri="{FF2B5EF4-FFF2-40B4-BE49-F238E27FC236}">
                <a16:creationId xmlns:a16="http://schemas.microsoft.com/office/drawing/2014/main" id="{7D8455FB-AA19-461A-A8C9-7539A364F2DC}"/>
              </a:ext>
            </a:extLst>
          </p:cNvPr>
          <p:cNvSpPr txBox="1"/>
          <p:nvPr/>
        </p:nvSpPr>
        <p:spPr>
          <a:xfrm>
            <a:off x="10001250" y="6540606"/>
            <a:ext cx="20186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b="1" dirty="0"/>
              <a:t>Stav k 25. 12. 2021 </a:t>
            </a:r>
          </a:p>
        </p:txBody>
      </p:sp>
      <p:graphicFrame>
        <p:nvGraphicFramePr>
          <p:cNvPr id="11" name="Tabulka 10">
            <a:extLst>
              <a:ext uri="{FF2B5EF4-FFF2-40B4-BE49-F238E27FC236}">
                <a16:creationId xmlns:a16="http://schemas.microsoft.com/office/drawing/2014/main" id="{AF1561B3-7273-473B-A2DD-A77D8870E05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20834202"/>
              </p:ext>
            </p:extLst>
          </p:nvPr>
        </p:nvGraphicFramePr>
        <p:xfrm>
          <a:off x="172060" y="835886"/>
          <a:ext cx="11847876" cy="4993645"/>
        </p:xfrm>
        <a:graphic>
          <a:graphicData uri="http://schemas.openxmlformats.org/drawingml/2006/table">
            <a:tbl>
              <a:tblPr/>
              <a:tblGrid>
                <a:gridCol w="2249451">
                  <a:extLst>
                    <a:ext uri="{9D8B030D-6E8A-4147-A177-3AD203B41FA5}">
                      <a16:colId xmlns:a16="http://schemas.microsoft.com/office/drawing/2014/main" val="652507569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47748259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314989255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113365653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707313385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614584230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645035601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58888292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171033188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92254120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416196272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1768927368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636322451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25140668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05452820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575082524"/>
                    </a:ext>
                  </a:extLst>
                </a:gridCol>
              </a:tblGrid>
              <a:tr h="43493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čkovaných alespoň jednou dávkou (podíl ze všech pracovníků daného povolání)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B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YS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M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*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48974545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akutní péč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29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93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21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04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5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9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35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37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15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6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13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32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69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4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 286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03397526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následné peče a jiná lůžkov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695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7148793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ychiatric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643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5978599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ázeňs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4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3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681261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ospělé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317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99956148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ěti a dorost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50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48753742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zubního léka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497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116938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gynekolog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97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346325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lékaře specialist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7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543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94938465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pt-B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ambulantní zařízení a laborato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04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7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8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3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868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2312617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dravotnická záchranná služb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5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1399744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ékár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24247117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zdravotnick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0</a:t>
                      </a:r>
                      <a:b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594384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8709238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6A5B4D8B-0405-4839-ABF5-BA5C44073E3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67675839"/>
              </p:ext>
            </p:extLst>
          </p:nvPr>
        </p:nvGraphicFramePr>
        <p:xfrm>
          <a:off x="2419350" y="1343819"/>
          <a:ext cx="9600585" cy="4485715"/>
        </p:xfrm>
        <a:graphic>
          <a:graphicData uri="http://schemas.openxmlformats.org/drawingml/2006/table">
            <a:tbl>
              <a:tblPr/>
              <a:tblGrid>
                <a:gridCol w="640039">
                  <a:extLst>
                    <a:ext uri="{9D8B030D-6E8A-4147-A177-3AD203B41FA5}">
                      <a16:colId xmlns:a16="http://schemas.microsoft.com/office/drawing/2014/main" val="1834185869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625346443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570020768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327193343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844391673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578801057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178707729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680464858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038129688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4627286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587615366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232070072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733480860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4276655636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4264316741"/>
                    </a:ext>
                  </a:extLst>
                </a:gridCol>
              </a:tblGrid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E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3DF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F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8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E7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9390989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8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F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6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7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3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1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7857860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3DF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F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1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F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C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A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8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E6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84437263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8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B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DD8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F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D6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3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F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9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C7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33900596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9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0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0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0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6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9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0CB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7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E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DD8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3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9D7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3273824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0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F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F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CE6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89955020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E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E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6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B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9920406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FC7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3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F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3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DD8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8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E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2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4469114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9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C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7124821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3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E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8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8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5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82140389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CD8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3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2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6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6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7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8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1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3DF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1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7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CD8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2DA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898239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B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1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4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5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9543837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9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1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C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0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1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0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D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E8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2300875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538" y="0"/>
            <a:ext cx="8284712" cy="576000"/>
          </a:xfrm>
        </p:spPr>
        <p:txBody>
          <a:bodyPr/>
          <a:lstStyle/>
          <a:p>
            <a:r>
              <a:rPr lang="cs-CZ" dirty="0"/>
              <a:t>Očkovaní ostatní ZP* podle typu zdravotnického zařízení</a:t>
            </a:r>
          </a:p>
        </p:txBody>
      </p:sp>
      <p:sp>
        <p:nvSpPr>
          <p:cNvPr id="18" name="Obdélník 17">
            <a:extLst>
              <a:ext uri="{FF2B5EF4-FFF2-40B4-BE49-F238E27FC236}">
                <a16:creationId xmlns:a16="http://schemas.microsoft.com/office/drawing/2014/main" id="{807777C6-243E-41FA-BD00-EE19544600CE}"/>
              </a:ext>
            </a:extLst>
          </p:cNvPr>
          <p:cNvSpPr/>
          <p:nvPr/>
        </p:nvSpPr>
        <p:spPr>
          <a:xfrm>
            <a:off x="119367" y="6013803"/>
            <a:ext cx="11953265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NLZP § 7 až § 42 kromě § 21b, farmaceuti; jedna osoba může pracovat ve více krajích a ve více typech zdravotnických zařízení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 analýzy jsou zahrnuti pouze zdravotničtí pracovníci nahlášení poskytovateli zdravotnických služeb jako aktuálně zaměstnaní. Výsledky mohou být ovlivněny úplností hlášení poskytovatelů zdravotních služeb do NRZP.</a:t>
            </a:r>
          </a:p>
        </p:txBody>
      </p:sp>
      <p:sp>
        <p:nvSpPr>
          <p:cNvPr id="21" name="Obdélník 20">
            <a:extLst>
              <a:ext uri="{FF2B5EF4-FFF2-40B4-BE49-F238E27FC236}">
                <a16:creationId xmlns:a16="http://schemas.microsoft.com/office/drawing/2014/main" id="{74028100-6752-4BD6-8757-694F3E498E25}"/>
              </a:ext>
            </a:extLst>
          </p:cNvPr>
          <p:cNvSpPr/>
          <p:nvPr/>
        </p:nvSpPr>
        <p:spPr>
          <a:xfrm>
            <a:off x="172060" y="6573215"/>
            <a:ext cx="1019114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registr zdravotnických pracovníků (NRZP), ÚZIS ČR; Informační systém infekční nemoci (ISIN) </a:t>
            </a:r>
          </a:p>
        </p:txBody>
      </p:sp>
      <p:sp>
        <p:nvSpPr>
          <p:cNvPr id="9" name="TextBox 6">
            <a:extLst>
              <a:ext uri="{FF2B5EF4-FFF2-40B4-BE49-F238E27FC236}">
                <a16:creationId xmlns:a16="http://schemas.microsoft.com/office/drawing/2014/main" id="{F8BE7577-D0D0-4CAF-8960-5C7A9603C643}"/>
              </a:ext>
            </a:extLst>
          </p:cNvPr>
          <p:cNvSpPr txBox="1"/>
          <p:nvPr/>
        </p:nvSpPr>
        <p:spPr>
          <a:xfrm>
            <a:off x="10001250" y="6540606"/>
            <a:ext cx="20186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b="1" dirty="0"/>
              <a:t>Stav k 25. 12. 2021 </a:t>
            </a:r>
          </a:p>
        </p:txBody>
      </p:sp>
      <p:graphicFrame>
        <p:nvGraphicFramePr>
          <p:cNvPr id="11" name="Tabulka 10">
            <a:extLst>
              <a:ext uri="{FF2B5EF4-FFF2-40B4-BE49-F238E27FC236}">
                <a16:creationId xmlns:a16="http://schemas.microsoft.com/office/drawing/2014/main" id="{50FC5E21-D439-468C-9A0B-56B392BA283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06001025"/>
              </p:ext>
            </p:extLst>
          </p:nvPr>
        </p:nvGraphicFramePr>
        <p:xfrm>
          <a:off x="172060" y="835886"/>
          <a:ext cx="11847876" cy="4993645"/>
        </p:xfrm>
        <a:graphic>
          <a:graphicData uri="http://schemas.openxmlformats.org/drawingml/2006/table">
            <a:tbl>
              <a:tblPr/>
              <a:tblGrid>
                <a:gridCol w="2249451">
                  <a:extLst>
                    <a:ext uri="{9D8B030D-6E8A-4147-A177-3AD203B41FA5}">
                      <a16:colId xmlns:a16="http://schemas.microsoft.com/office/drawing/2014/main" val="652507569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47748259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314989255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113365653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707313385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614584230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645035601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58888292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171033188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92254120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416196272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1768927368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636322451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25140668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05452820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575082524"/>
                    </a:ext>
                  </a:extLst>
                </a:gridCol>
              </a:tblGrid>
              <a:tr h="43493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čkovaných alespoň jednou dávkou (podíl ze všech pracovníků daného povolání)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B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YS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M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*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48974545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akutní péč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90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45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0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28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0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98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1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0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5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1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4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3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107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03397526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následné peče a jiná lůžkov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7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443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7148793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ychiatric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137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5978599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ázeňs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9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66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681261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ospělé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9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99956148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ěti a dorost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48753742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zubního léka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861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116938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gynekolog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346325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lékaře specialist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262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94938465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pt-B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ambulantní zařízení a laborato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16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6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836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2312617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dravotnická záchranná služb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608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1399744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ékár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4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3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4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9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823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24247117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zdravotnick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936</a:t>
                      </a:r>
                      <a:b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594384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0527864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1"/>
          <p:cNvSpPr txBox="1">
            <a:spLocks/>
          </p:cNvSpPr>
          <p:nvPr/>
        </p:nvSpPr>
        <p:spPr>
          <a:xfrm>
            <a:off x="0" y="3900347"/>
            <a:ext cx="12192000" cy="153429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I.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4400" dirty="0">
                <a:solidFill>
                  <a:srgbClr val="000000"/>
                </a:solidFill>
              </a:rPr>
              <a:t>Přehled stavu očkování ZP </a:t>
            </a:r>
            <a:endParaRPr kumimoji="0" lang="cs-CZ" sz="4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5" name="Nadpis 1"/>
          <p:cNvSpPr txBox="1">
            <a:spLocks/>
          </p:cNvSpPr>
          <p:nvPr/>
        </p:nvSpPr>
        <p:spPr>
          <a:xfrm>
            <a:off x="73152" y="1801368"/>
            <a:ext cx="12192000" cy="169057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tav a vývoj epidemie COVID-19 </a:t>
            </a:r>
            <a:b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v dostupných datech</a:t>
            </a:r>
          </a:p>
        </p:txBody>
      </p:sp>
    </p:spTree>
    <p:extLst>
      <p:ext uri="{BB962C8B-B14F-4D97-AF65-F5344CB8AC3E}">
        <p14:creationId xmlns:p14="http://schemas.microsoft.com/office/powerpoint/2010/main" val="314280295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1"/>
          <p:cNvSpPr txBox="1">
            <a:spLocks/>
          </p:cNvSpPr>
          <p:nvPr/>
        </p:nvSpPr>
        <p:spPr>
          <a:xfrm>
            <a:off x="0" y="3900347"/>
            <a:ext cx="12192000" cy="153429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II.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oučasné nákazy a virová zátěž ZP </a:t>
            </a:r>
          </a:p>
        </p:txBody>
      </p:sp>
      <p:sp>
        <p:nvSpPr>
          <p:cNvPr id="5" name="Nadpis 1"/>
          <p:cNvSpPr txBox="1">
            <a:spLocks/>
          </p:cNvSpPr>
          <p:nvPr/>
        </p:nvSpPr>
        <p:spPr>
          <a:xfrm>
            <a:off x="73152" y="1801368"/>
            <a:ext cx="12192000" cy="169057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tav a vývoj epidemie COVID-19 </a:t>
            </a:r>
            <a:b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v dostupných datech</a:t>
            </a:r>
          </a:p>
        </p:txBody>
      </p:sp>
    </p:spTree>
    <p:extLst>
      <p:ext uri="{BB962C8B-B14F-4D97-AF65-F5344CB8AC3E}">
        <p14:creationId xmlns:p14="http://schemas.microsoft.com/office/powerpoint/2010/main" val="242921182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bdélník 4">
            <a:extLst>
              <a:ext uri="{FF2B5EF4-FFF2-40B4-BE49-F238E27FC236}">
                <a16:creationId xmlns:a16="http://schemas.microsoft.com/office/drawing/2014/main" id="{CD96D264-7DB7-4540-BD2A-BEA7AA3CDEDF}"/>
              </a:ext>
            </a:extLst>
          </p:cNvPr>
          <p:cNvSpPr/>
          <p:nvPr/>
        </p:nvSpPr>
        <p:spPr>
          <a:xfrm>
            <a:off x="609693" y="647811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ctr"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nově COVID-19 pozitivních (incidence), </a:t>
            </a:r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stav k 25. 12. 2021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5" name="TextovéPole 8">
            <a:extLst>
              <a:ext uri="{FF2B5EF4-FFF2-40B4-BE49-F238E27FC236}">
                <a16:creationId xmlns:a16="http://schemas.microsoft.com/office/drawing/2014/main" id="{647DDAC2-3C77-4F03-9BD2-24C7C1216857}"/>
              </a:ext>
            </a:extLst>
          </p:cNvPr>
          <p:cNvSpPr txBox="1"/>
          <p:nvPr/>
        </p:nvSpPr>
        <p:spPr>
          <a:xfrm>
            <a:off x="2990850" y="6567385"/>
            <a:ext cx="63627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100" dirty="0">
                <a:latin typeface="Calibri" panose="020F0502020204030204" pitchFamily="34" charset="0"/>
                <a:cs typeface="Calibri" panose="020F0502020204030204" pitchFamily="34" charset="0"/>
              </a:rPr>
              <a:t>Zdroj: ISIN – Informační systém infekční nemocí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9FAB93A6-2228-45F5-872E-1F511F38CC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010" y="2"/>
            <a:ext cx="7864952" cy="576000"/>
          </a:xfrm>
        </p:spPr>
        <p:txBody>
          <a:bodyPr/>
          <a:lstStyle/>
          <a:p>
            <a:r>
              <a:rPr lang="cs-CZ" dirty="0"/>
              <a:t>Počty pracovníků ve zdravotnictví s nákazou COVID-19</a:t>
            </a:r>
          </a:p>
        </p:txBody>
      </p:sp>
      <p:graphicFrame>
        <p:nvGraphicFramePr>
          <p:cNvPr id="8" name="Graf 7">
            <a:extLst>
              <a:ext uri="{FF2B5EF4-FFF2-40B4-BE49-F238E27FC236}">
                <a16:creationId xmlns:a16="http://schemas.microsoft.com/office/drawing/2014/main" id="{43448D1D-2E05-45CA-A866-143DDBF5BA0C}"/>
              </a:ext>
            </a:extLst>
          </p:cNvPr>
          <p:cNvGraphicFramePr/>
          <p:nvPr/>
        </p:nvGraphicFramePr>
        <p:xfrm>
          <a:off x="142875" y="1119730"/>
          <a:ext cx="7153275" cy="54476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7C1367ED-B273-4E58-BBB3-AD1B81F63A12}"/>
              </a:ext>
            </a:extLst>
          </p:cNvPr>
          <p:cNvGraphicFramePr>
            <a:graphicFrameLocks noGrp="1"/>
          </p:cNvGraphicFramePr>
          <p:nvPr/>
        </p:nvGraphicFramePr>
        <p:xfrm>
          <a:off x="7296150" y="1209675"/>
          <a:ext cx="4661411" cy="5209594"/>
        </p:xfrm>
        <a:graphic>
          <a:graphicData uri="http://schemas.openxmlformats.org/drawingml/2006/table">
            <a:tbl>
              <a:tblPr/>
              <a:tblGrid>
                <a:gridCol w="1453112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782840">
                  <a:extLst>
                    <a:ext uri="{9D8B030D-6E8A-4147-A177-3AD203B41FA5}">
                      <a16:colId xmlns:a16="http://schemas.microsoft.com/office/drawing/2014/main" val="3345832007"/>
                    </a:ext>
                  </a:extLst>
                </a:gridCol>
                <a:gridCol w="782840">
                  <a:extLst>
                    <a:ext uri="{9D8B030D-6E8A-4147-A177-3AD203B41FA5}">
                      <a16:colId xmlns:a16="http://schemas.microsoft.com/office/drawing/2014/main" val="3216505177"/>
                    </a:ext>
                  </a:extLst>
                </a:gridCol>
                <a:gridCol w="840544">
                  <a:extLst>
                    <a:ext uri="{9D8B030D-6E8A-4147-A177-3AD203B41FA5}">
                      <a16:colId xmlns:a16="http://schemas.microsoft.com/office/drawing/2014/main" val="1240375351"/>
                    </a:ext>
                  </a:extLst>
                </a:gridCol>
                <a:gridCol w="802075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</a:tblGrid>
              <a:tr h="872809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 denní klouzavý průměr 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poslední den)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Lékaři</a:t>
                      </a:r>
                      <a:endParaRPr lang="cs-CZ" sz="1200" b="0" i="0" u="none" strike="noStrike" dirty="0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Sesterská povolání </a:t>
                      </a:r>
                      <a:endParaRPr lang="cs-CZ" sz="1200" b="0" i="0" u="none" strike="noStrike" dirty="0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Ostatní zdravotničtí pracovníci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3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5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3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5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5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2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2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3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4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3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2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5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7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45 (1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48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 (3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</a:tbl>
          </a:graphicData>
        </a:graphic>
      </p:graphicFrame>
      <p:cxnSp>
        <p:nvCxnSpPr>
          <p:cNvPr id="14" name="Straight Connector 4">
            <a:extLst>
              <a:ext uri="{FF2B5EF4-FFF2-40B4-BE49-F238E27FC236}">
                <a16:creationId xmlns:a16="http://schemas.microsoft.com/office/drawing/2014/main" id="{F5F70D9E-87A2-4BFA-BE04-CC7F4241D0B4}"/>
              </a:ext>
            </a:extLst>
          </p:cNvPr>
          <p:cNvCxnSpPr/>
          <p:nvPr/>
        </p:nvCxnSpPr>
        <p:spPr>
          <a:xfrm>
            <a:off x="5606765" y="1702345"/>
            <a:ext cx="216000" cy="0"/>
          </a:xfrm>
          <a:prstGeom prst="line">
            <a:avLst/>
          </a:prstGeom>
          <a:ln w="1905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5">
            <a:extLst>
              <a:ext uri="{FF2B5EF4-FFF2-40B4-BE49-F238E27FC236}">
                <a16:creationId xmlns:a16="http://schemas.microsoft.com/office/drawing/2014/main" id="{39CA3BBA-412B-4A3C-ADC1-DAF4B494D04F}"/>
              </a:ext>
            </a:extLst>
          </p:cNvPr>
          <p:cNvSpPr txBox="1"/>
          <p:nvPr/>
        </p:nvSpPr>
        <p:spPr>
          <a:xfrm>
            <a:off x="5789707" y="1533071"/>
            <a:ext cx="1341224" cy="5978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100"/>
              </a:lnSpc>
              <a:spcBef>
                <a:spcPts val="600"/>
              </a:spcBef>
            </a:pPr>
            <a:r>
              <a:rPr lang="cs-CZ" sz="1200" b="1" dirty="0">
                <a:latin typeface="Calibri" panose="020F0502020204030204" pitchFamily="34" charset="0"/>
                <a:cs typeface="Calibri" panose="020F0502020204030204" pitchFamily="34" charset="0"/>
              </a:rPr>
              <a:t>7 denní klouzavý průměr</a:t>
            </a:r>
          </a:p>
          <a:p>
            <a:pPr>
              <a:lnSpc>
                <a:spcPts val="1100"/>
              </a:lnSpc>
              <a:spcBef>
                <a:spcPts val="600"/>
              </a:spcBef>
            </a:pPr>
            <a:r>
              <a:rPr lang="cs-CZ" sz="1200" b="1" dirty="0">
                <a:latin typeface="Calibri" panose="020F0502020204030204" pitchFamily="34" charset="0"/>
                <a:cs typeface="Calibri" panose="020F0502020204030204" pitchFamily="34" charset="0"/>
              </a:rPr>
              <a:t>denní hodnoty</a:t>
            </a:r>
          </a:p>
        </p:txBody>
      </p:sp>
      <p:cxnSp>
        <p:nvCxnSpPr>
          <p:cNvPr id="17" name="Straight Connector 4">
            <a:extLst>
              <a:ext uri="{FF2B5EF4-FFF2-40B4-BE49-F238E27FC236}">
                <a16:creationId xmlns:a16="http://schemas.microsoft.com/office/drawing/2014/main" id="{49368D80-8513-4AF4-B12A-04F7F7E5994A}"/>
              </a:ext>
            </a:extLst>
          </p:cNvPr>
          <p:cNvCxnSpPr/>
          <p:nvPr/>
        </p:nvCxnSpPr>
        <p:spPr>
          <a:xfrm>
            <a:off x="5606765" y="1997620"/>
            <a:ext cx="216000" cy="0"/>
          </a:xfrm>
          <a:prstGeom prst="line">
            <a:avLst/>
          </a:prstGeom>
          <a:ln w="635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5">
            <a:extLst>
              <a:ext uri="{FF2B5EF4-FFF2-40B4-BE49-F238E27FC236}">
                <a16:creationId xmlns:a16="http://schemas.microsoft.com/office/drawing/2014/main" id="{5F83CAAA-A3F3-4137-A444-807362C84989}"/>
              </a:ext>
            </a:extLst>
          </p:cNvPr>
          <p:cNvSpPr txBox="1"/>
          <p:nvPr/>
        </p:nvSpPr>
        <p:spPr>
          <a:xfrm>
            <a:off x="5492063" y="2907371"/>
            <a:ext cx="1341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i="1" dirty="0">
                <a:latin typeface="Calibri" panose="020F0502020204030204" pitchFamily="34" charset="0"/>
                <a:cs typeface="Calibri" panose="020F0502020204030204" pitchFamily="34" charset="0"/>
              </a:rPr>
              <a:t>Poslední den:</a:t>
            </a:r>
          </a:p>
        </p:txBody>
      </p:sp>
    </p:spTree>
    <p:extLst>
      <p:ext uri="{BB962C8B-B14F-4D97-AF65-F5344CB8AC3E}">
        <p14:creationId xmlns:p14="http://schemas.microsoft.com/office/powerpoint/2010/main" val="174674841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délník 7">
            <a:extLst>
              <a:ext uri="{FF2B5EF4-FFF2-40B4-BE49-F238E27FC236}">
                <a16:creationId xmlns:a16="http://schemas.microsoft.com/office/drawing/2014/main" id="{4A2CCF00-4AB0-4FD5-AB8B-28BA2B6A6FA4}"/>
              </a:ext>
            </a:extLst>
          </p:cNvPr>
          <p:cNvSpPr/>
          <p:nvPr/>
        </p:nvSpPr>
        <p:spPr>
          <a:xfrm>
            <a:off x="5450681" y="1227656"/>
            <a:ext cx="108000" cy="459211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cs-CZ"/>
          </a:p>
        </p:txBody>
      </p:sp>
      <p:graphicFrame>
        <p:nvGraphicFramePr>
          <p:cNvPr id="7" name="Graf 6">
            <a:extLst>
              <a:ext uri="{FF2B5EF4-FFF2-40B4-BE49-F238E27FC236}">
                <a16:creationId xmlns:a16="http://schemas.microsoft.com/office/drawing/2014/main" id="{4E2462CD-2C28-4222-9D6A-55BCDDF9CD02}"/>
              </a:ext>
            </a:extLst>
          </p:cNvPr>
          <p:cNvGraphicFramePr/>
          <p:nvPr/>
        </p:nvGraphicFramePr>
        <p:xfrm>
          <a:off x="142875" y="1083825"/>
          <a:ext cx="7153275" cy="54476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" name="Obdélník 4">
            <a:extLst>
              <a:ext uri="{FF2B5EF4-FFF2-40B4-BE49-F238E27FC236}">
                <a16:creationId xmlns:a16="http://schemas.microsoft.com/office/drawing/2014/main" id="{CD96D264-7DB7-4540-BD2A-BEA7AA3CDEDF}"/>
              </a:ext>
            </a:extLst>
          </p:cNvPr>
          <p:cNvSpPr/>
          <p:nvPr/>
        </p:nvSpPr>
        <p:spPr>
          <a:xfrm>
            <a:off x="609693" y="647811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ctr"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Aktuální počet COVID-19 pozitivních (prevalence)*, </a:t>
            </a:r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stav k 25. 12. 2021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5" name="TextovéPole 8">
            <a:extLst>
              <a:ext uri="{FF2B5EF4-FFF2-40B4-BE49-F238E27FC236}">
                <a16:creationId xmlns:a16="http://schemas.microsoft.com/office/drawing/2014/main" id="{647DDAC2-3C77-4F03-9BD2-24C7C1216857}"/>
              </a:ext>
            </a:extLst>
          </p:cNvPr>
          <p:cNvSpPr txBox="1"/>
          <p:nvPr/>
        </p:nvSpPr>
        <p:spPr>
          <a:xfrm>
            <a:off x="723900" y="6567385"/>
            <a:ext cx="493395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100" dirty="0">
                <a:latin typeface="Calibri" panose="020F0502020204030204" pitchFamily="34" charset="0"/>
                <a:cs typeface="Calibri" panose="020F0502020204030204" pitchFamily="34" charset="0"/>
              </a:rPr>
              <a:t>Zdroj: ISIN – Informační systém infekční nemocí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9FAB93A6-2228-45F5-872E-1F511F38CC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010" y="2"/>
            <a:ext cx="7864952" cy="576000"/>
          </a:xfrm>
        </p:spPr>
        <p:txBody>
          <a:bodyPr/>
          <a:lstStyle/>
          <a:p>
            <a:r>
              <a:rPr lang="cs-CZ" dirty="0"/>
              <a:t>Počty pracovníků ve zdravotnictví s nákazou COVID-19</a:t>
            </a: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7C1367ED-B273-4E58-BBB3-AD1B81F63A12}"/>
              </a:ext>
            </a:extLst>
          </p:cNvPr>
          <p:cNvGraphicFramePr>
            <a:graphicFrameLocks noGrp="1"/>
          </p:cNvGraphicFramePr>
          <p:nvPr/>
        </p:nvGraphicFramePr>
        <p:xfrm>
          <a:off x="7296150" y="1256231"/>
          <a:ext cx="4752977" cy="4745385"/>
        </p:xfrm>
        <a:graphic>
          <a:graphicData uri="http://schemas.openxmlformats.org/drawingml/2006/table">
            <a:tbl>
              <a:tblPr/>
              <a:tblGrid>
                <a:gridCol w="1456505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824118">
                  <a:extLst>
                    <a:ext uri="{9D8B030D-6E8A-4147-A177-3AD203B41FA5}">
                      <a16:colId xmlns:a16="http://schemas.microsoft.com/office/drawing/2014/main" val="3345832007"/>
                    </a:ext>
                  </a:extLst>
                </a:gridCol>
                <a:gridCol w="824118">
                  <a:extLst>
                    <a:ext uri="{9D8B030D-6E8A-4147-A177-3AD203B41FA5}">
                      <a16:colId xmlns:a16="http://schemas.microsoft.com/office/drawing/2014/main" val="3216505177"/>
                    </a:ext>
                  </a:extLst>
                </a:gridCol>
                <a:gridCol w="824118">
                  <a:extLst>
                    <a:ext uri="{9D8B030D-6E8A-4147-A177-3AD203B41FA5}">
                      <a16:colId xmlns:a16="http://schemas.microsoft.com/office/drawing/2014/main" val="1240375351"/>
                    </a:ext>
                  </a:extLst>
                </a:gridCol>
                <a:gridCol w="824118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</a:tblGrid>
              <a:tr h="814515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Lékaři</a:t>
                      </a:r>
                      <a:endParaRPr lang="cs-CZ" sz="1200" b="0" i="0" u="none" strike="noStrike" dirty="0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Sesterská povolání </a:t>
                      </a:r>
                      <a:endParaRPr lang="cs-CZ" sz="1200" b="0" i="0" u="none" strike="noStrike" dirty="0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Ostatní zdravotničtí pracovníci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2620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7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2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620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620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620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620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620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620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620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620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620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620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620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620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620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620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3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 1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 3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</a:tbl>
          </a:graphicData>
        </a:graphic>
      </p:graphicFrame>
      <p:sp>
        <p:nvSpPr>
          <p:cNvPr id="12" name="TextovéPole 11">
            <a:extLst>
              <a:ext uri="{FF2B5EF4-FFF2-40B4-BE49-F238E27FC236}">
                <a16:creationId xmlns:a16="http://schemas.microsoft.com/office/drawing/2014/main" id="{107070DB-7A5B-419B-A663-E01DC064A02B}"/>
              </a:ext>
            </a:extLst>
          </p:cNvPr>
          <p:cNvSpPr txBox="1"/>
          <p:nvPr/>
        </p:nvSpPr>
        <p:spPr>
          <a:xfrm>
            <a:off x="6095202" y="6093400"/>
            <a:ext cx="6096798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cs-CZ" sz="1000" dirty="0"/>
              <a:t>Počty aktuálně pozitivních ZP jsou nadhodnocené z důvodu zpoždění v aktualizaci údajů o negativitě/ vyléčení, které u ZP provádí KHS. Odhadovaný počet pravděpodobně již negativních ZP je 610 celkem (84 lékařů, 271 sester, 255 jiných ZP), odhad vychází z počtu aktuálně pozitivních ZP s datem pozitivity starším než 14 dní.</a:t>
            </a:r>
          </a:p>
        </p:txBody>
      </p:sp>
      <p:sp>
        <p:nvSpPr>
          <p:cNvPr id="13" name="Obdélník 12">
            <a:extLst>
              <a:ext uri="{FF2B5EF4-FFF2-40B4-BE49-F238E27FC236}">
                <a16:creationId xmlns:a16="http://schemas.microsoft.com/office/drawing/2014/main" id="{C812EBEA-69C2-4803-874F-B7F4E542DD9A}"/>
              </a:ext>
            </a:extLst>
          </p:cNvPr>
          <p:cNvSpPr/>
          <p:nvPr/>
        </p:nvSpPr>
        <p:spPr>
          <a:xfrm>
            <a:off x="5926827" y="6111714"/>
            <a:ext cx="21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0514193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ovéPole 21">
            <a:extLst>
              <a:ext uri="{FF2B5EF4-FFF2-40B4-BE49-F238E27FC236}">
                <a16:creationId xmlns:a16="http://schemas.microsoft.com/office/drawing/2014/main" id="{95095AE4-15AA-4DA7-96E9-0973C161E52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50241" y="87716"/>
            <a:ext cx="113442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ývoj počtu pozitivních případů aktivních lékařů</a:t>
            </a:r>
          </a:p>
        </p:txBody>
      </p:sp>
      <p:sp>
        <p:nvSpPr>
          <p:cNvPr id="13" name="Zahnutá šipka nahoru 25">
            <a:extLst>
              <a:ext uri="{FF2B5EF4-FFF2-40B4-BE49-F238E27FC236}">
                <a16:creationId xmlns:a16="http://schemas.microsoft.com/office/drawing/2014/main" id="{B6F904B9-B88B-46C5-92EF-0EB4566DC65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105737" y="213619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Zahnutá šipka nahoru 25">
            <a:extLst>
              <a:ext uri="{FF2B5EF4-FFF2-40B4-BE49-F238E27FC236}">
                <a16:creationId xmlns:a16="http://schemas.microsoft.com/office/drawing/2014/main" id="{6787712D-9170-4E47-97CC-8D60809E2F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101417" y="2130150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Zahnutá šipka nahoru 25">
            <a:extLst>
              <a:ext uri="{FF2B5EF4-FFF2-40B4-BE49-F238E27FC236}">
                <a16:creationId xmlns:a16="http://schemas.microsoft.com/office/drawing/2014/main" id="{AACCD883-36DC-4042-87E9-99D055BFB8C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8333317" y="2144405"/>
            <a:ext cx="1860974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Zahnutá šipka nahoru 25">
            <a:extLst>
              <a:ext uri="{FF2B5EF4-FFF2-40B4-BE49-F238E27FC236}">
                <a16:creationId xmlns:a16="http://schemas.microsoft.com/office/drawing/2014/main" id="{C57154C7-2094-4F3A-89F5-3B2F0EBF8606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6213071" y="213171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5" name="Chart 4">
            <a:extLst>
              <a:ext uri="{FF2B5EF4-FFF2-40B4-BE49-F238E27FC236}">
                <a16:creationId xmlns:a16="http://schemas.microsoft.com/office/drawing/2014/main" id="{5A29735D-E67B-4582-988F-B716296F695C}"/>
              </a:ext>
            </a:extLst>
          </p:cNvPr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475494304"/>
              </p:ext>
            </p:extLst>
          </p:nvPr>
        </p:nvGraphicFramePr>
        <p:xfrm>
          <a:off x="57147" y="2876910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6" name="Table 11">
            <a:extLst>
              <a:ext uri="{FF2B5EF4-FFF2-40B4-BE49-F238E27FC236}">
                <a16:creationId xmlns:a16="http://schemas.microsoft.com/office/drawing/2014/main" id="{2783236E-7848-4370-8C68-345D039C0ED3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263242837"/>
              </p:ext>
            </p:extLst>
          </p:nvPr>
        </p:nvGraphicFramePr>
        <p:xfrm>
          <a:off x="931755" y="631456"/>
          <a:ext cx="10328489" cy="2236967"/>
        </p:xfrm>
        <a:graphic>
          <a:graphicData uri="http://schemas.openxmlformats.org/drawingml/2006/table">
            <a:tbl>
              <a:tblPr/>
              <a:tblGrid>
                <a:gridCol w="781385">
                  <a:extLst>
                    <a:ext uri="{9D8B030D-6E8A-4147-A177-3AD203B41FA5}">
                      <a16:colId xmlns:a16="http://schemas.microsoft.com/office/drawing/2014/main" val="396996391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12948094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612071546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307235488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48381772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54561305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06379557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06990424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52944754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855104309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71190540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18815458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62080135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095500680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489013364"/>
                    </a:ext>
                  </a:extLst>
                </a:gridCol>
              </a:tblGrid>
              <a:tr h="359513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1576240"/>
                  </a:ext>
                </a:extLst>
              </a:tr>
              <a:tr h="359513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1. 11.–27. 1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8. 11.–4. 1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5. 12.–11. 1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2. 12.–18. 1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9. 12.–25. 1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4805125"/>
                  </a:ext>
                </a:extLst>
              </a:tr>
              <a:tr h="369499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5827543"/>
                  </a:ext>
                </a:extLst>
              </a:tr>
              <a:tr h="389472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9.4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3.3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1.3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8.2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3060953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090131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024574"/>
                  </a:ext>
                </a:extLst>
              </a:tr>
            </a:tbl>
          </a:graphicData>
        </a:graphic>
      </p:graphicFrame>
      <p:cxnSp>
        <p:nvCxnSpPr>
          <p:cNvPr id="11" name="Přímá spojnice se šipkou 10">
            <a:extLst>
              <a:ext uri="{FF2B5EF4-FFF2-40B4-BE49-F238E27FC236}">
                <a16:creationId xmlns:a16="http://schemas.microsoft.com/office/drawing/2014/main" id="{95CFE655-BEE9-4DE2-B980-65136AE915FD}"/>
              </a:ext>
            </a:extLst>
          </p:cNvPr>
          <p:cNvCxnSpPr>
            <a:cxnSpLocks/>
          </p:cNvCxnSpPr>
          <p:nvPr/>
        </p:nvCxnSpPr>
        <p:spPr>
          <a:xfrm flipV="1">
            <a:off x="7833221" y="3198541"/>
            <a:ext cx="1758454" cy="178274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Přímá spojnice se šipkou 16">
            <a:extLst>
              <a:ext uri="{FF2B5EF4-FFF2-40B4-BE49-F238E27FC236}">
                <a16:creationId xmlns:a16="http://schemas.microsoft.com/office/drawing/2014/main" id="{9D3A5FA6-DF59-4974-AD14-85F21837514F}"/>
              </a:ext>
            </a:extLst>
          </p:cNvPr>
          <p:cNvCxnSpPr>
            <a:cxnSpLocks/>
          </p:cNvCxnSpPr>
          <p:nvPr/>
        </p:nvCxnSpPr>
        <p:spPr>
          <a:xfrm>
            <a:off x="9744075" y="3198541"/>
            <a:ext cx="4953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Přímá spojnice se šipkou 17">
            <a:extLst>
              <a:ext uri="{FF2B5EF4-FFF2-40B4-BE49-F238E27FC236}">
                <a16:creationId xmlns:a16="http://schemas.microsoft.com/office/drawing/2014/main" id="{13994501-0525-49C1-AEA0-947A2999B5EF}"/>
              </a:ext>
            </a:extLst>
          </p:cNvPr>
          <p:cNvCxnSpPr>
            <a:cxnSpLocks/>
          </p:cNvCxnSpPr>
          <p:nvPr/>
        </p:nvCxnSpPr>
        <p:spPr>
          <a:xfrm>
            <a:off x="10369275" y="3245685"/>
            <a:ext cx="1143913" cy="12310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2581228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8" y="2"/>
            <a:ext cx="8438411" cy="576000"/>
          </a:xfrm>
        </p:spPr>
        <p:txBody>
          <a:bodyPr/>
          <a:lstStyle/>
          <a:p>
            <a:r>
              <a:rPr lang="cs-CZ" dirty="0"/>
              <a:t>Počty COVID-19 pozitivních na 100 000 osob v populaci lékařů</a:t>
            </a:r>
          </a:p>
        </p:txBody>
      </p:sp>
      <p:graphicFrame>
        <p:nvGraphicFramePr>
          <p:cNvPr id="17" name="Graf 16">
            <a:extLst>
              <a:ext uri="{FF2B5EF4-FFF2-40B4-BE49-F238E27FC236}">
                <a16:creationId xmlns:a16="http://schemas.microsoft.com/office/drawing/2014/main" id="{A0832711-C8D3-482F-ADC2-50907D83BB18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90925672"/>
              </p:ext>
            </p:extLst>
          </p:nvPr>
        </p:nvGraphicFramePr>
        <p:xfrm>
          <a:off x="1322168" y="1382699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/>
        </p:nvSpPr>
        <p:spPr>
          <a:xfrm>
            <a:off x="58189" y="1757297"/>
            <a:ext cx="1438102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 v populaci lékařů (suma za hodnocený časový úsek)</a:t>
            </a:r>
          </a:p>
        </p:txBody>
      </p:sp>
    </p:spTree>
    <p:extLst>
      <p:ext uri="{BB962C8B-B14F-4D97-AF65-F5344CB8AC3E}">
        <p14:creationId xmlns:p14="http://schemas.microsoft.com/office/powerpoint/2010/main" val="218043599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ovéPole 21">
            <a:extLst>
              <a:ext uri="{FF2B5EF4-FFF2-40B4-BE49-F238E27FC236}">
                <a16:creationId xmlns:a16="http://schemas.microsoft.com/office/drawing/2014/main" id="{95095AE4-15AA-4DA7-96E9-0973C161E52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50241" y="87716"/>
            <a:ext cx="113442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ývoj počtu pozitivních případů aktivních sester</a:t>
            </a:r>
          </a:p>
        </p:txBody>
      </p:sp>
      <p:sp>
        <p:nvSpPr>
          <p:cNvPr id="13" name="Zahnutá šipka nahoru 25">
            <a:extLst>
              <a:ext uri="{FF2B5EF4-FFF2-40B4-BE49-F238E27FC236}">
                <a16:creationId xmlns:a16="http://schemas.microsoft.com/office/drawing/2014/main" id="{B6F904B9-B88B-46C5-92EF-0EB4566DC65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105737" y="213619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Zahnutá šipka nahoru 25">
            <a:extLst>
              <a:ext uri="{FF2B5EF4-FFF2-40B4-BE49-F238E27FC236}">
                <a16:creationId xmlns:a16="http://schemas.microsoft.com/office/drawing/2014/main" id="{6787712D-9170-4E47-97CC-8D60809E2F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101417" y="2130150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Zahnutá šipka nahoru 25">
            <a:extLst>
              <a:ext uri="{FF2B5EF4-FFF2-40B4-BE49-F238E27FC236}">
                <a16:creationId xmlns:a16="http://schemas.microsoft.com/office/drawing/2014/main" id="{AACCD883-36DC-4042-87E9-99D055BFB8C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8333317" y="2144405"/>
            <a:ext cx="1860974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Zahnutá šipka nahoru 25">
            <a:extLst>
              <a:ext uri="{FF2B5EF4-FFF2-40B4-BE49-F238E27FC236}">
                <a16:creationId xmlns:a16="http://schemas.microsoft.com/office/drawing/2014/main" id="{C57154C7-2094-4F3A-89F5-3B2F0EBF8606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6213071" y="213171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5" name="Chart 4">
            <a:extLst>
              <a:ext uri="{FF2B5EF4-FFF2-40B4-BE49-F238E27FC236}">
                <a16:creationId xmlns:a16="http://schemas.microsoft.com/office/drawing/2014/main" id="{9128C58E-C8E1-4A9A-AA38-61B78B4C5A96}"/>
              </a:ext>
            </a:extLst>
          </p:cNvPr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32439168"/>
              </p:ext>
            </p:extLst>
          </p:nvPr>
        </p:nvGraphicFramePr>
        <p:xfrm>
          <a:off x="57147" y="2876910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6" name="Table 11">
            <a:extLst>
              <a:ext uri="{FF2B5EF4-FFF2-40B4-BE49-F238E27FC236}">
                <a16:creationId xmlns:a16="http://schemas.microsoft.com/office/drawing/2014/main" id="{49BB5BC4-8F9B-4AC8-9A14-74B8F167DD49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703349909"/>
              </p:ext>
            </p:extLst>
          </p:nvPr>
        </p:nvGraphicFramePr>
        <p:xfrm>
          <a:off x="931755" y="631456"/>
          <a:ext cx="10328489" cy="2236967"/>
        </p:xfrm>
        <a:graphic>
          <a:graphicData uri="http://schemas.openxmlformats.org/drawingml/2006/table">
            <a:tbl>
              <a:tblPr/>
              <a:tblGrid>
                <a:gridCol w="781385">
                  <a:extLst>
                    <a:ext uri="{9D8B030D-6E8A-4147-A177-3AD203B41FA5}">
                      <a16:colId xmlns:a16="http://schemas.microsoft.com/office/drawing/2014/main" val="396996391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12948094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612071546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307235488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48381772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54561305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06379557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06990424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52944754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855104309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71190540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18815458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62080135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095500680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489013364"/>
                    </a:ext>
                  </a:extLst>
                </a:gridCol>
              </a:tblGrid>
              <a:tr h="359513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Hotovo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1576240"/>
                  </a:ext>
                </a:extLst>
              </a:tr>
              <a:tr h="359513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1. 11.–27. 1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8. 11.–4. 1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5. 12.–11. 1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2. 12.–18. 1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9. 12.–25. 1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4805125"/>
                  </a:ext>
                </a:extLst>
              </a:tr>
              <a:tr h="369499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9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2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7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5827543"/>
                  </a:ext>
                </a:extLst>
              </a:tr>
              <a:tr h="389472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6.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7.6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0.8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8.3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3060953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090131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024574"/>
                  </a:ext>
                </a:extLst>
              </a:tr>
            </a:tbl>
          </a:graphicData>
        </a:graphic>
      </p:graphicFrame>
      <p:cxnSp>
        <p:nvCxnSpPr>
          <p:cNvPr id="17" name="Přímá spojnice se šipkou 16">
            <a:extLst>
              <a:ext uri="{FF2B5EF4-FFF2-40B4-BE49-F238E27FC236}">
                <a16:creationId xmlns:a16="http://schemas.microsoft.com/office/drawing/2014/main" id="{41057748-8070-41FD-84BB-6385978B738F}"/>
              </a:ext>
            </a:extLst>
          </p:cNvPr>
          <p:cNvCxnSpPr>
            <a:cxnSpLocks/>
          </p:cNvCxnSpPr>
          <p:nvPr/>
        </p:nvCxnSpPr>
        <p:spPr>
          <a:xfrm flipV="1">
            <a:off x="7871321" y="3265216"/>
            <a:ext cx="1758454" cy="178274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Přímá spojnice se šipkou 17">
            <a:extLst>
              <a:ext uri="{FF2B5EF4-FFF2-40B4-BE49-F238E27FC236}">
                <a16:creationId xmlns:a16="http://schemas.microsoft.com/office/drawing/2014/main" id="{813A8F9A-EE78-405F-ADFC-633EB8BF2F22}"/>
              </a:ext>
            </a:extLst>
          </p:cNvPr>
          <p:cNvCxnSpPr>
            <a:cxnSpLocks/>
          </p:cNvCxnSpPr>
          <p:nvPr/>
        </p:nvCxnSpPr>
        <p:spPr>
          <a:xfrm>
            <a:off x="9782175" y="3265216"/>
            <a:ext cx="4953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Přímá spojnice se šipkou 18">
            <a:extLst>
              <a:ext uri="{FF2B5EF4-FFF2-40B4-BE49-F238E27FC236}">
                <a16:creationId xmlns:a16="http://schemas.microsoft.com/office/drawing/2014/main" id="{35C83EC6-2592-4E9D-A783-D3D6DB0077F1}"/>
              </a:ext>
            </a:extLst>
          </p:cNvPr>
          <p:cNvCxnSpPr>
            <a:cxnSpLocks/>
          </p:cNvCxnSpPr>
          <p:nvPr/>
        </p:nvCxnSpPr>
        <p:spPr>
          <a:xfrm>
            <a:off x="10407375" y="3312360"/>
            <a:ext cx="1143913" cy="12310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3330092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8102694" cy="576000"/>
          </a:xfrm>
        </p:spPr>
        <p:txBody>
          <a:bodyPr/>
          <a:lstStyle/>
          <a:p>
            <a:r>
              <a:rPr lang="cs-CZ" dirty="0"/>
              <a:t>Počty COVID-19 pozitivních na 100 000 osob v populaci sester</a:t>
            </a: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/>
        </p:nvSpPr>
        <p:spPr>
          <a:xfrm>
            <a:off x="49877" y="1757297"/>
            <a:ext cx="1392507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 v populaci sester (suma za hodnocený časový úsek)</a:t>
            </a:r>
          </a:p>
        </p:txBody>
      </p:sp>
      <p:graphicFrame>
        <p:nvGraphicFramePr>
          <p:cNvPr id="5" name="Graf 4">
            <a:extLst>
              <a:ext uri="{FF2B5EF4-FFF2-40B4-BE49-F238E27FC236}">
                <a16:creationId xmlns:a16="http://schemas.microsoft.com/office/drawing/2014/main" id="{8682F60F-46D8-48C4-9BAF-DC595C3B4A5C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8987105"/>
              </p:ext>
            </p:extLst>
          </p:nvPr>
        </p:nvGraphicFramePr>
        <p:xfrm>
          <a:off x="1322168" y="1382699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103112990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ovéPole 21">
            <a:extLst>
              <a:ext uri="{FF2B5EF4-FFF2-40B4-BE49-F238E27FC236}">
                <a16:creationId xmlns:a16="http://schemas.microsoft.com/office/drawing/2014/main" id="{95095AE4-15AA-4DA7-96E9-0973C161E52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50241" y="87716"/>
            <a:ext cx="113442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ývoj počtu pozitivních případů ostatních ZP</a:t>
            </a:r>
          </a:p>
        </p:txBody>
      </p:sp>
      <p:sp>
        <p:nvSpPr>
          <p:cNvPr id="13" name="Zahnutá šipka nahoru 25">
            <a:extLst>
              <a:ext uri="{FF2B5EF4-FFF2-40B4-BE49-F238E27FC236}">
                <a16:creationId xmlns:a16="http://schemas.microsoft.com/office/drawing/2014/main" id="{B6F904B9-B88B-46C5-92EF-0EB4566DC65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105737" y="213619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Zahnutá šipka nahoru 25">
            <a:extLst>
              <a:ext uri="{FF2B5EF4-FFF2-40B4-BE49-F238E27FC236}">
                <a16:creationId xmlns:a16="http://schemas.microsoft.com/office/drawing/2014/main" id="{6787712D-9170-4E47-97CC-8D60809E2F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101417" y="2130150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Zahnutá šipka nahoru 25">
            <a:extLst>
              <a:ext uri="{FF2B5EF4-FFF2-40B4-BE49-F238E27FC236}">
                <a16:creationId xmlns:a16="http://schemas.microsoft.com/office/drawing/2014/main" id="{AACCD883-36DC-4042-87E9-99D055BFB8C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8333317" y="2144405"/>
            <a:ext cx="1860974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Zahnutá šipka nahoru 25">
            <a:extLst>
              <a:ext uri="{FF2B5EF4-FFF2-40B4-BE49-F238E27FC236}">
                <a16:creationId xmlns:a16="http://schemas.microsoft.com/office/drawing/2014/main" id="{C57154C7-2094-4F3A-89F5-3B2F0EBF8606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6213071" y="213171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5" name="Chart 4">
            <a:extLst>
              <a:ext uri="{FF2B5EF4-FFF2-40B4-BE49-F238E27FC236}">
                <a16:creationId xmlns:a16="http://schemas.microsoft.com/office/drawing/2014/main" id="{9128C58E-C8E1-4A9A-AA38-61B78B4C5A96}"/>
              </a:ext>
            </a:extLst>
          </p:cNvPr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885574720"/>
              </p:ext>
            </p:extLst>
          </p:nvPr>
        </p:nvGraphicFramePr>
        <p:xfrm>
          <a:off x="57147" y="2876910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6" name="Table 11">
            <a:extLst>
              <a:ext uri="{FF2B5EF4-FFF2-40B4-BE49-F238E27FC236}">
                <a16:creationId xmlns:a16="http://schemas.microsoft.com/office/drawing/2014/main" id="{49BB5BC4-8F9B-4AC8-9A14-74B8F167DD49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659142506"/>
              </p:ext>
            </p:extLst>
          </p:nvPr>
        </p:nvGraphicFramePr>
        <p:xfrm>
          <a:off x="931755" y="631456"/>
          <a:ext cx="10328489" cy="2236967"/>
        </p:xfrm>
        <a:graphic>
          <a:graphicData uri="http://schemas.openxmlformats.org/drawingml/2006/table">
            <a:tbl>
              <a:tblPr/>
              <a:tblGrid>
                <a:gridCol w="781385">
                  <a:extLst>
                    <a:ext uri="{9D8B030D-6E8A-4147-A177-3AD203B41FA5}">
                      <a16:colId xmlns:a16="http://schemas.microsoft.com/office/drawing/2014/main" val="396996391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12948094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612071546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307235488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48381772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54561305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06379557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06990424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52944754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855104309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71190540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18815458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62080135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095500680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489013364"/>
                    </a:ext>
                  </a:extLst>
                </a:gridCol>
              </a:tblGrid>
              <a:tr h="359513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1576240"/>
                  </a:ext>
                </a:extLst>
              </a:tr>
              <a:tr h="359513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1. 11.–27. 1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8. 11.–4. 1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5. 12.–11. 1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2. 12.–18. 1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9. 12.–25. 1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4805125"/>
                  </a:ext>
                </a:extLst>
              </a:tr>
              <a:tr h="369499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6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0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4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0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5827543"/>
                  </a:ext>
                </a:extLst>
              </a:tr>
              <a:tr h="389472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4.8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7.3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9.4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48.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3060953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090131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024574"/>
                  </a:ext>
                </a:extLst>
              </a:tr>
            </a:tbl>
          </a:graphicData>
        </a:graphic>
      </p:graphicFrame>
      <p:cxnSp>
        <p:nvCxnSpPr>
          <p:cNvPr id="11" name="Přímá spojnice se šipkou 10">
            <a:extLst>
              <a:ext uri="{FF2B5EF4-FFF2-40B4-BE49-F238E27FC236}">
                <a16:creationId xmlns:a16="http://schemas.microsoft.com/office/drawing/2014/main" id="{B276E3B2-FF6F-4806-A245-BAD606A64329}"/>
              </a:ext>
            </a:extLst>
          </p:cNvPr>
          <p:cNvCxnSpPr>
            <a:cxnSpLocks/>
          </p:cNvCxnSpPr>
          <p:nvPr/>
        </p:nvCxnSpPr>
        <p:spPr>
          <a:xfrm flipV="1">
            <a:off x="7928471" y="3217591"/>
            <a:ext cx="1758454" cy="178274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Přímá spojnice se šipkou 17">
            <a:extLst>
              <a:ext uri="{FF2B5EF4-FFF2-40B4-BE49-F238E27FC236}">
                <a16:creationId xmlns:a16="http://schemas.microsoft.com/office/drawing/2014/main" id="{57A369A8-4077-4816-B629-1CD40F0D855C}"/>
              </a:ext>
            </a:extLst>
          </p:cNvPr>
          <p:cNvCxnSpPr>
            <a:cxnSpLocks/>
          </p:cNvCxnSpPr>
          <p:nvPr/>
        </p:nvCxnSpPr>
        <p:spPr>
          <a:xfrm>
            <a:off x="9839325" y="3217591"/>
            <a:ext cx="4953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Přímá spojnice se šipkou 18">
            <a:extLst>
              <a:ext uri="{FF2B5EF4-FFF2-40B4-BE49-F238E27FC236}">
                <a16:creationId xmlns:a16="http://schemas.microsoft.com/office/drawing/2014/main" id="{EA6FC4BE-1FF4-4546-B5CD-FEF9832E8676}"/>
              </a:ext>
            </a:extLst>
          </p:cNvPr>
          <p:cNvCxnSpPr>
            <a:cxnSpLocks/>
          </p:cNvCxnSpPr>
          <p:nvPr/>
        </p:nvCxnSpPr>
        <p:spPr>
          <a:xfrm>
            <a:off x="10464525" y="3264735"/>
            <a:ext cx="1143913" cy="12310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7170539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8" y="2"/>
            <a:ext cx="8647961" cy="576000"/>
          </a:xfrm>
        </p:spPr>
        <p:txBody>
          <a:bodyPr/>
          <a:lstStyle/>
          <a:p>
            <a:r>
              <a:rPr lang="cs-CZ" dirty="0"/>
              <a:t>Počty COVID-19 pozitivních na 100 000 osob v populaci ostatních ZP</a:t>
            </a: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/>
        </p:nvSpPr>
        <p:spPr>
          <a:xfrm>
            <a:off x="137649" y="1757297"/>
            <a:ext cx="1254858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 v populaci ostatních ZP (suma za hodnocený časový úsek)</a:t>
            </a:r>
          </a:p>
        </p:txBody>
      </p:sp>
      <p:graphicFrame>
        <p:nvGraphicFramePr>
          <p:cNvPr id="5" name="Graf 4">
            <a:extLst>
              <a:ext uri="{FF2B5EF4-FFF2-40B4-BE49-F238E27FC236}">
                <a16:creationId xmlns:a16="http://schemas.microsoft.com/office/drawing/2014/main" id="{77767C90-51A5-48DE-BF7F-14E45D3CD23E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48923053"/>
              </p:ext>
            </p:extLst>
          </p:nvPr>
        </p:nvGraphicFramePr>
        <p:xfrm>
          <a:off x="1322168" y="1382699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93923915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ovéPole 21">
            <a:extLst>
              <a:ext uri="{FF2B5EF4-FFF2-40B4-BE49-F238E27FC236}">
                <a16:creationId xmlns:a16="http://schemas.microsoft.com/office/drawing/2014/main" id="{95095AE4-15AA-4DA7-96E9-0973C161E52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50241" y="87716"/>
            <a:ext cx="113442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ývoj počtu pozitivních případů ZP CELKEM</a:t>
            </a:r>
          </a:p>
        </p:txBody>
      </p:sp>
      <p:sp>
        <p:nvSpPr>
          <p:cNvPr id="13" name="Zahnutá šipka nahoru 25">
            <a:extLst>
              <a:ext uri="{FF2B5EF4-FFF2-40B4-BE49-F238E27FC236}">
                <a16:creationId xmlns:a16="http://schemas.microsoft.com/office/drawing/2014/main" id="{B6F904B9-B88B-46C5-92EF-0EB4566DC65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105737" y="213619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Zahnutá šipka nahoru 25">
            <a:extLst>
              <a:ext uri="{FF2B5EF4-FFF2-40B4-BE49-F238E27FC236}">
                <a16:creationId xmlns:a16="http://schemas.microsoft.com/office/drawing/2014/main" id="{6787712D-9170-4E47-97CC-8D60809E2F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101417" y="2130150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Zahnutá šipka nahoru 25">
            <a:extLst>
              <a:ext uri="{FF2B5EF4-FFF2-40B4-BE49-F238E27FC236}">
                <a16:creationId xmlns:a16="http://schemas.microsoft.com/office/drawing/2014/main" id="{AACCD883-36DC-4042-87E9-99D055BFB8C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8333317" y="2144405"/>
            <a:ext cx="1860974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Zahnutá šipka nahoru 25">
            <a:extLst>
              <a:ext uri="{FF2B5EF4-FFF2-40B4-BE49-F238E27FC236}">
                <a16:creationId xmlns:a16="http://schemas.microsoft.com/office/drawing/2014/main" id="{C57154C7-2094-4F3A-89F5-3B2F0EBF8606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6213071" y="213171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5" name="Chart 4">
            <a:extLst>
              <a:ext uri="{FF2B5EF4-FFF2-40B4-BE49-F238E27FC236}">
                <a16:creationId xmlns:a16="http://schemas.microsoft.com/office/drawing/2014/main" id="{53E2D82D-108B-4D73-94F6-FBD731C2D303}"/>
              </a:ext>
            </a:extLst>
          </p:cNvPr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156155865"/>
              </p:ext>
            </p:extLst>
          </p:nvPr>
        </p:nvGraphicFramePr>
        <p:xfrm>
          <a:off x="57147" y="2876910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6" name="Table 11">
            <a:extLst>
              <a:ext uri="{FF2B5EF4-FFF2-40B4-BE49-F238E27FC236}">
                <a16:creationId xmlns:a16="http://schemas.microsoft.com/office/drawing/2014/main" id="{F11535AB-AF88-4B35-89FD-7232D9821B31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460143683"/>
              </p:ext>
            </p:extLst>
          </p:nvPr>
        </p:nvGraphicFramePr>
        <p:xfrm>
          <a:off x="931755" y="631456"/>
          <a:ext cx="10328489" cy="2236967"/>
        </p:xfrm>
        <a:graphic>
          <a:graphicData uri="http://schemas.openxmlformats.org/drawingml/2006/table">
            <a:tbl>
              <a:tblPr/>
              <a:tblGrid>
                <a:gridCol w="781385">
                  <a:extLst>
                    <a:ext uri="{9D8B030D-6E8A-4147-A177-3AD203B41FA5}">
                      <a16:colId xmlns:a16="http://schemas.microsoft.com/office/drawing/2014/main" val="396996391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12948094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612071546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307235488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48381772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54561305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06379557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06990424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52944754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855104309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71190540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18815458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62080135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095500680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489013364"/>
                    </a:ext>
                  </a:extLst>
                </a:gridCol>
              </a:tblGrid>
              <a:tr h="359513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1576240"/>
                  </a:ext>
                </a:extLst>
              </a:tr>
              <a:tr h="359513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1. 11.–27. 1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8. 11.–4. 1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5. 12.–11. 1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2. 12.–18. 1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9. 12.–25. 1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4805125"/>
                  </a:ext>
                </a:extLst>
              </a:tr>
              <a:tr h="369499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9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0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3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3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0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5827543"/>
                  </a:ext>
                </a:extLst>
              </a:tr>
              <a:tr h="389472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4.8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9.7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5.6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40.9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3060953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090131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024574"/>
                  </a:ext>
                </a:extLst>
              </a:tr>
            </a:tbl>
          </a:graphicData>
        </a:graphic>
      </p:graphicFrame>
      <p:cxnSp>
        <p:nvCxnSpPr>
          <p:cNvPr id="17" name="Přímá spojnice se šipkou 16">
            <a:extLst>
              <a:ext uri="{FF2B5EF4-FFF2-40B4-BE49-F238E27FC236}">
                <a16:creationId xmlns:a16="http://schemas.microsoft.com/office/drawing/2014/main" id="{8E153808-87DF-479F-B87B-EB8DAC5FC1B6}"/>
              </a:ext>
            </a:extLst>
          </p:cNvPr>
          <p:cNvCxnSpPr>
            <a:cxnSpLocks/>
          </p:cNvCxnSpPr>
          <p:nvPr/>
        </p:nvCxnSpPr>
        <p:spPr>
          <a:xfrm flipV="1">
            <a:off x="7852271" y="3398566"/>
            <a:ext cx="1758454" cy="178274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Přímá spojnice se šipkou 17">
            <a:extLst>
              <a:ext uri="{FF2B5EF4-FFF2-40B4-BE49-F238E27FC236}">
                <a16:creationId xmlns:a16="http://schemas.microsoft.com/office/drawing/2014/main" id="{3DC7096E-5C32-4334-993E-0D62B67B98D5}"/>
              </a:ext>
            </a:extLst>
          </p:cNvPr>
          <p:cNvCxnSpPr>
            <a:cxnSpLocks/>
          </p:cNvCxnSpPr>
          <p:nvPr/>
        </p:nvCxnSpPr>
        <p:spPr>
          <a:xfrm>
            <a:off x="9763125" y="3398566"/>
            <a:ext cx="4953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Přímá spojnice se šipkou 18">
            <a:extLst>
              <a:ext uri="{FF2B5EF4-FFF2-40B4-BE49-F238E27FC236}">
                <a16:creationId xmlns:a16="http://schemas.microsoft.com/office/drawing/2014/main" id="{7139F105-C4C3-4620-AFB6-0FB17E2F6C7A}"/>
              </a:ext>
            </a:extLst>
          </p:cNvPr>
          <p:cNvCxnSpPr>
            <a:cxnSpLocks/>
          </p:cNvCxnSpPr>
          <p:nvPr/>
        </p:nvCxnSpPr>
        <p:spPr>
          <a:xfrm>
            <a:off x="10388325" y="3445710"/>
            <a:ext cx="1143913" cy="12310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5275975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ání zdravotnických pracovníků </a:t>
            </a:r>
          </a:p>
        </p:txBody>
      </p:sp>
      <p:sp>
        <p:nvSpPr>
          <p:cNvPr id="25" name="Obdélník 24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322440" y="1046604"/>
            <a:ext cx="11601706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 aktuálně aktivně působících zdravotnických pracovníků má alespoň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. dávku vakcinace </a:t>
            </a:r>
            <a:r>
              <a:rPr kumimoji="0" lang="cs-CZ" sz="28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8 % lékařů</a:t>
            </a:r>
            <a:r>
              <a:rPr kumimoji="0" lang="cs-CZ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</a:t>
            </a:r>
            <a:r>
              <a:rPr kumimoji="0" lang="cs-CZ" sz="28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3 % sesterských povolání</a:t>
            </a: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 </a:t>
            </a:r>
            <a:r>
              <a:rPr kumimoji="0" lang="cs-CZ" sz="28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1 % ostatních zdravotnických povolání</a:t>
            </a:r>
            <a:r>
              <a:rPr kumimoji="0" lang="cs-CZ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</a:t>
            </a:r>
          </a:p>
        </p:txBody>
      </p:sp>
      <p:sp>
        <p:nvSpPr>
          <p:cNvPr id="9" name="Šipka dolů 8"/>
          <p:cNvSpPr/>
          <p:nvPr/>
        </p:nvSpPr>
        <p:spPr>
          <a:xfrm>
            <a:off x="5554864" y="2902204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322440" y="3696653"/>
            <a:ext cx="11189401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očkovanost ZP během podzimu vzrostla, a to ve všech profesních skupinách. Celková proočkovanost ZP dosahuje 83,3 % (jen ZP skutečně aktivní ve zdravotnictví)</a:t>
            </a:r>
          </a:p>
        </p:txBody>
      </p:sp>
      <p:sp>
        <p:nvSpPr>
          <p:cNvPr id="11" name="Šipka dolů 10"/>
          <p:cNvSpPr/>
          <p:nvPr/>
        </p:nvSpPr>
        <p:spPr>
          <a:xfrm>
            <a:off x="5513717" y="6070096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8233332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7290AB6E-EFD0-41D2-9E30-8D07C9104F28}"/>
              </a:ext>
            </a:extLst>
          </p:cNvPr>
          <p:cNvGraphicFramePr>
            <a:graphicFrameLocks noGrp="1"/>
          </p:cNvGraphicFramePr>
          <p:nvPr/>
        </p:nvGraphicFramePr>
        <p:xfrm>
          <a:off x="2348669" y="2269603"/>
          <a:ext cx="9269940" cy="3612420"/>
        </p:xfrm>
        <a:graphic>
          <a:graphicData uri="http://schemas.openxmlformats.org/drawingml/2006/table">
            <a:tbl>
              <a:tblPr/>
              <a:tblGrid>
                <a:gridCol w="772495">
                  <a:extLst>
                    <a:ext uri="{9D8B030D-6E8A-4147-A177-3AD203B41FA5}">
                      <a16:colId xmlns:a16="http://schemas.microsoft.com/office/drawing/2014/main" val="3385857883"/>
                    </a:ext>
                  </a:extLst>
                </a:gridCol>
                <a:gridCol w="772495">
                  <a:extLst>
                    <a:ext uri="{9D8B030D-6E8A-4147-A177-3AD203B41FA5}">
                      <a16:colId xmlns:a16="http://schemas.microsoft.com/office/drawing/2014/main" val="1451203510"/>
                    </a:ext>
                  </a:extLst>
                </a:gridCol>
                <a:gridCol w="772495">
                  <a:extLst>
                    <a:ext uri="{9D8B030D-6E8A-4147-A177-3AD203B41FA5}">
                      <a16:colId xmlns:a16="http://schemas.microsoft.com/office/drawing/2014/main" val="3343955506"/>
                    </a:ext>
                  </a:extLst>
                </a:gridCol>
                <a:gridCol w="772495">
                  <a:extLst>
                    <a:ext uri="{9D8B030D-6E8A-4147-A177-3AD203B41FA5}">
                      <a16:colId xmlns:a16="http://schemas.microsoft.com/office/drawing/2014/main" val="3634804936"/>
                    </a:ext>
                  </a:extLst>
                </a:gridCol>
                <a:gridCol w="772495">
                  <a:extLst>
                    <a:ext uri="{9D8B030D-6E8A-4147-A177-3AD203B41FA5}">
                      <a16:colId xmlns:a16="http://schemas.microsoft.com/office/drawing/2014/main" val="2255748584"/>
                    </a:ext>
                  </a:extLst>
                </a:gridCol>
                <a:gridCol w="772495">
                  <a:extLst>
                    <a:ext uri="{9D8B030D-6E8A-4147-A177-3AD203B41FA5}">
                      <a16:colId xmlns:a16="http://schemas.microsoft.com/office/drawing/2014/main" val="2030127304"/>
                    </a:ext>
                  </a:extLst>
                </a:gridCol>
                <a:gridCol w="772495">
                  <a:extLst>
                    <a:ext uri="{9D8B030D-6E8A-4147-A177-3AD203B41FA5}">
                      <a16:colId xmlns:a16="http://schemas.microsoft.com/office/drawing/2014/main" val="560811059"/>
                    </a:ext>
                  </a:extLst>
                </a:gridCol>
                <a:gridCol w="772495">
                  <a:extLst>
                    <a:ext uri="{9D8B030D-6E8A-4147-A177-3AD203B41FA5}">
                      <a16:colId xmlns:a16="http://schemas.microsoft.com/office/drawing/2014/main" val="2159228841"/>
                    </a:ext>
                  </a:extLst>
                </a:gridCol>
                <a:gridCol w="772495">
                  <a:extLst>
                    <a:ext uri="{9D8B030D-6E8A-4147-A177-3AD203B41FA5}">
                      <a16:colId xmlns:a16="http://schemas.microsoft.com/office/drawing/2014/main" val="2218983988"/>
                    </a:ext>
                  </a:extLst>
                </a:gridCol>
                <a:gridCol w="772495">
                  <a:extLst>
                    <a:ext uri="{9D8B030D-6E8A-4147-A177-3AD203B41FA5}">
                      <a16:colId xmlns:a16="http://schemas.microsoft.com/office/drawing/2014/main" val="1586570065"/>
                    </a:ext>
                  </a:extLst>
                </a:gridCol>
                <a:gridCol w="772495">
                  <a:extLst>
                    <a:ext uri="{9D8B030D-6E8A-4147-A177-3AD203B41FA5}">
                      <a16:colId xmlns:a16="http://schemas.microsoft.com/office/drawing/2014/main" val="4082399375"/>
                    </a:ext>
                  </a:extLst>
                </a:gridCol>
                <a:gridCol w="772495">
                  <a:extLst>
                    <a:ext uri="{9D8B030D-6E8A-4147-A177-3AD203B41FA5}">
                      <a16:colId xmlns:a16="http://schemas.microsoft.com/office/drawing/2014/main" val="798915110"/>
                    </a:ext>
                  </a:extLst>
                </a:gridCol>
              </a:tblGrid>
              <a:tr h="240828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D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CA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0A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8937936"/>
                  </a:ext>
                </a:extLst>
              </a:tr>
              <a:tr h="240828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EB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B9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09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4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63253515"/>
                  </a:ext>
                </a:extLst>
              </a:tr>
              <a:tr h="240828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EC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1A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DA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6A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1069066"/>
                  </a:ext>
                </a:extLst>
              </a:tr>
              <a:tr h="240828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49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5C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5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CB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3605278"/>
                  </a:ext>
                </a:extLst>
              </a:tr>
              <a:tr h="240828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66597997"/>
                  </a:ext>
                </a:extLst>
              </a:tr>
              <a:tr h="240828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D9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C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9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E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83999658"/>
                  </a:ext>
                </a:extLst>
              </a:tr>
              <a:tr h="240828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AA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D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1720730"/>
                  </a:ext>
                </a:extLst>
              </a:tr>
              <a:tr h="240828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D9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E9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3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FB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650022"/>
                  </a:ext>
                </a:extLst>
              </a:tr>
              <a:tr h="240828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C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6C6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D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17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80603004"/>
                  </a:ext>
                </a:extLst>
              </a:tr>
              <a:tr h="240828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A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57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5175816"/>
                  </a:ext>
                </a:extLst>
              </a:tr>
              <a:tr h="240828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1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A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BA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FA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432722"/>
                  </a:ext>
                </a:extLst>
              </a:tr>
              <a:tr h="240828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3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0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3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69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87915149"/>
                  </a:ext>
                </a:extLst>
              </a:tr>
              <a:tr h="240828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7A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0B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C8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6974678"/>
                  </a:ext>
                </a:extLst>
              </a:tr>
              <a:tr h="240828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09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3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1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B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2238523"/>
                  </a:ext>
                </a:extLst>
              </a:tr>
              <a:tr h="240828"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69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C9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1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99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1117697"/>
                  </a:ext>
                </a:extLst>
              </a:tr>
            </a:tbl>
          </a:graphicData>
        </a:graphic>
      </p:graphicFrame>
      <p:sp>
        <p:nvSpPr>
          <p:cNvPr id="10" name="TextovéPole 5">
            <a:extLst>
              <a:ext uri="{FF2B5EF4-FFF2-40B4-BE49-F238E27FC236}">
                <a16:creationId xmlns:a16="http://schemas.microsoft.com/office/drawing/2014/main" id="{E3A22678-EE0A-4F0C-80A0-91CC52509AD0}"/>
              </a:ext>
            </a:extLst>
          </p:cNvPr>
          <p:cNvSpPr txBox="1"/>
          <p:nvPr/>
        </p:nvSpPr>
        <p:spPr>
          <a:xfrm>
            <a:off x="2990850" y="6567385"/>
            <a:ext cx="63627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100" dirty="0">
                <a:latin typeface="Calibri" panose="020F0502020204030204" pitchFamily="34" charset="0"/>
                <a:cs typeface="Calibri" panose="020F0502020204030204" pitchFamily="34" charset="0"/>
              </a:rPr>
              <a:t>Zdroj: ISIN – Informační systém infekční nemocí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AE238D39-7489-4465-AC4A-2E3C5F72AF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145" y="2"/>
            <a:ext cx="7502895" cy="576000"/>
          </a:xfrm>
        </p:spPr>
        <p:txBody>
          <a:bodyPr/>
          <a:lstStyle/>
          <a:p>
            <a:r>
              <a:rPr lang="cs-CZ" dirty="0"/>
              <a:t>Počty pracovníků ve zdravotnictví s nákazou COVID-19</a:t>
            </a:r>
          </a:p>
        </p:txBody>
      </p:sp>
      <p:sp>
        <p:nvSpPr>
          <p:cNvPr id="15" name="Obdélník 14">
            <a:extLst>
              <a:ext uri="{FF2B5EF4-FFF2-40B4-BE49-F238E27FC236}">
                <a16:creationId xmlns:a16="http://schemas.microsoft.com/office/drawing/2014/main" id="{1D66D047-1A81-43A9-AEC0-D36353A2C52D}"/>
              </a:ext>
            </a:extLst>
          </p:cNvPr>
          <p:cNvSpPr/>
          <p:nvPr/>
        </p:nvSpPr>
        <p:spPr>
          <a:xfrm>
            <a:off x="607274" y="646685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ctr">
              <a:defRPr/>
            </a:pPr>
            <a:r>
              <a:rPr lang="cs-CZ" sz="2000" b="1" dirty="0">
                <a:solidFill>
                  <a:srgbClr val="000000"/>
                </a:solidFill>
                <a:latin typeface="Calibri" panose="020F0502020204030204" pitchFamily="34" charset="0"/>
              </a:rPr>
              <a:t>Aktuální počet COVID-19 pozitivních, </a:t>
            </a:r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stav k 25. 12. 2021 </a:t>
            </a:r>
            <a:endParaRPr lang="cs-CZ" sz="2000" b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17" name="Tabulka 16">
            <a:extLst>
              <a:ext uri="{FF2B5EF4-FFF2-40B4-BE49-F238E27FC236}">
                <a16:creationId xmlns:a16="http://schemas.microsoft.com/office/drawing/2014/main" id="{35E2859C-4D5B-4818-B563-9E4138B938E9}"/>
              </a:ext>
            </a:extLst>
          </p:cNvPr>
          <p:cNvGraphicFramePr>
            <a:graphicFrameLocks noGrp="1"/>
          </p:cNvGraphicFramePr>
          <p:nvPr/>
        </p:nvGraphicFramePr>
        <p:xfrm>
          <a:off x="672701" y="1101986"/>
          <a:ext cx="10945906" cy="4780030"/>
        </p:xfrm>
        <a:graphic>
          <a:graphicData uri="http://schemas.openxmlformats.org/drawingml/2006/table">
            <a:tbl>
              <a:tblPr/>
              <a:tblGrid>
                <a:gridCol w="1670422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3345832007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1533895005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116061117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3216505177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3422552456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4012377110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1240375351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2366221837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915136564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256011791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1711815336"/>
                    </a:ext>
                  </a:extLst>
                </a:gridCol>
              </a:tblGrid>
              <a:tr h="553235"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ékaři</a:t>
                      </a:r>
                      <a:endParaRPr lang="cs-CZ" sz="16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0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0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esterská povolání 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(§ 5 Všeobecná sestra, § 5a Dětská sestra, § 6 Porodní asistentka, § 21b Praktická sestra)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0" i="0" u="none" strike="noStrike" dirty="0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0" i="0" u="none" strike="noStrike" dirty="0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statní zdravotničtí pracovníci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614705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tis. obyvatel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úvazků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tis. obyvatel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úvazků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tis. obyvatel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úvazků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tis. obyvatel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úvazků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1881938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6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9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4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4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6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4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6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6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</a:tbl>
          </a:graphicData>
        </a:graphic>
      </p:graphicFrame>
      <p:sp>
        <p:nvSpPr>
          <p:cNvPr id="18" name="TextovéPole 17">
            <a:extLst>
              <a:ext uri="{FF2B5EF4-FFF2-40B4-BE49-F238E27FC236}">
                <a16:creationId xmlns:a16="http://schemas.microsoft.com/office/drawing/2014/main" id="{C60E1484-55C4-4B6F-A638-3236D2A6D736}"/>
              </a:ext>
            </a:extLst>
          </p:cNvPr>
          <p:cNvSpPr txBox="1"/>
          <p:nvPr/>
        </p:nvSpPr>
        <p:spPr>
          <a:xfrm>
            <a:off x="2209088" y="5966151"/>
            <a:ext cx="975134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>
                <a:latin typeface="Calibri" panose="020F0502020204030204" pitchFamily="34" charset="0"/>
                <a:cs typeface="Calibri" panose="020F0502020204030204" pitchFamily="34" charset="0"/>
              </a:rPr>
              <a:t>* Úvazky včetně smluvních pracovníků za rok 2019 podle statistických zjišťování MZ za rok 2019, v</a:t>
            </a:r>
            <a:r>
              <a:rPr lang="pt-BR" sz="1200" dirty="0">
                <a:latin typeface="Calibri" panose="020F0502020204030204" pitchFamily="34" charset="0"/>
                <a:cs typeface="Calibri" panose="020F0502020204030204" pitchFamily="34" charset="0"/>
              </a:rPr>
              <a:t>ýkaz</a:t>
            </a:r>
            <a:r>
              <a:rPr lang="cs-CZ" sz="1200" dirty="0">
                <a:latin typeface="Calibri" panose="020F0502020204030204" pitchFamily="34" charset="0"/>
                <a:cs typeface="Calibri" panose="020F0502020204030204" pitchFamily="34" charset="0"/>
              </a:rPr>
              <a:t>y</a:t>
            </a:r>
            <a:r>
              <a:rPr lang="pt-BR" sz="1200" dirty="0">
                <a:latin typeface="Calibri" panose="020F0502020204030204" pitchFamily="34" charset="0"/>
                <a:cs typeface="Calibri" panose="020F0502020204030204" pitchFamily="34" charset="0"/>
              </a:rPr>
              <a:t> E (MZ) 2-01, E (MZ) 3-01 a E (MZ) 4-01</a:t>
            </a:r>
            <a:endParaRPr lang="cs-CZ" sz="12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D38389EE-F8C1-4AAD-BB2B-BF9F71F72F8C}"/>
              </a:ext>
            </a:extLst>
          </p:cNvPr>
          <p:cNvSpPr txBox="1"/>
          <p:nvPr/>
        </p:nvSpPr>
        <p:spPr>
          <a:xfrm>
            <a:off x="4911603" y="6276375"/>
            <a:ext cx="70547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dirty="0"/>
              <a:t>Barevná škála vizualizuje rozsah hodnot v územích v rámci sledovaného ukazatele (sloupce)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1834C1AC-8D63-45D3-ADC1-6A054BF785C6}"/>
              </a:ext>
            </a:extLst>
          </p:cNvPr>
          <p:cNvGrpSpPr/>
          <p:nvPr/>
        </p:nvGrpSpPr>
        <p:grpSpPr>
          <a:xfrm>
            <a:off x="2768481" y="6338662"/>
            <a:ext cx="2143122" cy="171474"/>
            <a:chOff x="2185672" y="6586960"/>
            <a:chExt cx="2143122" cy="171474"/>
          </a:xfrm>
        </p:grpSpPr>
        <p:sp>
          <p:nvSpPr>
            <p:cNvPr id="22" name="TextovéPole 21">
              <a:extLst>
                <a:ext uri="{FF2B5EF4-FFF2-40B4-BE49-F238E27FC236}">
                  <a16:creationId xmlns:a16="http://schemas.microsoft.com/office/drawing/2014/main" id="{9B93F5A1-61AB-4ADF-8174-6F49ABD78FD6}"/>
                </a:ext>
              </a:extLst>
            </p:cNvPr>
            <p:cNvSpPr txBox="1"/>
            <p:nvPr/>
          </p:nvSpPr>
          <p:spPr>
            <a:xfrm>
              <a:off x="2185672" y="6586960"/>
              <a:ext cx="2143122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cs-CZ" sz="1000" dirty="0"/>
                <a:t>min %                                    max %</a:t>
              </a:r>
            </a:p>
          </p:txBody>
        </p:sp>
        <p:pic>
          <p:nvPicPr>
            <p:cNvPr id="24" name="Obrázek 23">
              <a:extLst>
                <a:ext uri="{FF2B5EF4-FFF2-40B4-BE49-F238E27FC236}">
                  <a16:creationId xmlns:a16="http://schemas.microsoft.com/office/drawing/2014/main" id="{A9AA69C9-AA2B-4055-9A8C-660DAE0AD60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653291" y="6586960"/>
              <a:ext cx="1190791" cy="17147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875572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2317ADE0-FF88-4D4F-AE2D-BD4292219893}"/>
              </a:ext>
            </a:extLst>
          </p:cNvPr>
          <p:cNvGraphicFramePr>
            <a:graphicFrameLocks noGrp="1"/>
          </p:cNvGraphicFramePr>
          <p:nvPr/>
        </p:nvGraphicFramePr>
        <p:xfrm>
          <a:off x="3787238" y="1999780"/>
          <a:ext cx="7347932" cy="3993135"/>
        </p:xfrm>
        <a:graphic>
          <a:graphicData uri="http://schemas.openxmlformats.org/drawingml/2006/table">
            <a:tbl>
              <a:tblPr/>
              <a:tblGrid>
                <a:gridCol w="1836983">
                  <a:extLst>
                    <a:ext uri="{9D8B030D-6E8A-4147-A177-3AD203B41FA5}">
                      <a16:colId xmlns:a16="http://schemas.microsoft.com/office/drawing/2014/main" val="1752290601"/>
                    </a:ext>
                  </a:extLst>
                </a:gridCol>
                <a:gridCol w="1836983">
                  <a:extLst>
                    <a:ext uri="{9D8B030D-6E8A-4147-A177-3AD203B41FA5}">
                      <a16:colId xmlns:a16="http://schemas.microsoft.com/office/drawing/2014/main" val="38501617"/>
                    </a:ext>
                  </a:extLst>
                </a:gridCol>
                <a:gridCol w="1836983">
                  <a:extLst>
                    <a:ext uri="{9D8B030D-6E8A-4147-A177-3AD203B41FA5}">
                      <a16:colId xmlns:a16="http://schemas.microsoft.com/office/drawing/2014/main" val="1706195293"/>
                    </a:ext>
                  </a:extLst>
                </a:gridCol>
                <a:gridCol w="1836983">
                  <a:extLst>
                    <a:ext uri="{9D8B030D-6E8A-4147-A177-3AD203B41FA5}">
                      <a16:colId xmlns:a16="http://schemas.microsoft.com/office/drawing/2014/main" val="233898078"/>
                    </a:ext>
                  </a:extLst>
                </a:gridCol>
              </a:tblGrid>
              <a:tr h="266209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4442796"/>
                  </a:ext>
                </a:extLst>
              </a:tr>
              <a:tr h="266209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7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2C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6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0C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4086010"/>
                  </a:ext>
                </a:extLst>
              </a:tr>
              <a:tr h="266209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CD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9268772"/>
                  </a:ext>
                </a:extLst>
              </a:tr>
              <a:tr h="266209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6E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0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421097"/>
                  </a:ext>
                </a:extLst>
              </a:tr>
              <a:tr h="266209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8F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51144859"/>
                  </a:ext>
                </a:extLst>
              </a:tr>
              <a:tr h="266209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4D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1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0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5B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3855914"/>
                  </a:ext>
                </a:extLst>
              </a:tr>
              <a:tr h="266209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D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8695232"/>
                  </a:ext>
                </a:extLst>
              </a:tr>
              <a:tr h="266209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D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1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D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9899746"/>
                  </a:ext>
                </a:extLst>
              </a:tr>
              <a:tr h="266209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FD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1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1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1904266"/>
                  </a:ext>
                </a:extLst>
              </a:tr>
              <a:tr h="266209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FD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1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0E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528126"/>
                  </a:ext>
                </a:extLst>
              </a:tr>
              <a:tr h="266209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7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4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1C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2090688"/>
                  </a:ext>
                </a:extLst>
              </a:tr>
              <a:tr h="266209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2E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2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9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A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5960418"/>
                  </a:ext>
                </a:extLst>
              </a:tr>
              <a:tr h="266209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8F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8C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1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8847011"/>
                  </a:ext>
                </a:extLst>
              </a:tr>
              <a:tr h="266209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B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4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8A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0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9530652"/>
                  </a:ext>
                </a:extLst>
              </a:tr>
              <a:tr h="266209"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98953325"/>
                  </a:ext>
                </a:extLst>
              </a:tr>
            </a:tbl>
          </a:graphicData>
        </a:graphic>
      </p:graphicFrame>
      <p:sp>
        <p:nvSpPr>
          <p:cNvPr id="15" name="TextovéPole 8">
            <a:extLst>
              <a:ext uri="{FF2B5EF4-FFF2-40B4-BE49-F238E27FC236}">
                <a16:creationId xmlns:a16="http://schemas.microsoft.com/office/drawing/2014/main" id="{647DDAC2-3C77-4F03-9BD2-24C7C1216857}"/>
              </a:ext>
            </a:extLst>
          </p:cNvPr>
          <p:cNvSpPr txBox="1"/>
          <p:nvPr/>
        </p:nvSpPr>
        <p:spPr>
          <a:xfrm>
            <a:off x="2990850" y="6567385"/>
            <a:ext cx="63627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Zdroj: ISIN – Informační systém infekční nemocí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9FAB93A6-2228-45F5-872E-1F511F38CC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010" y="2"/>
            <a:ext cx="7864952" cy="576000"/>
          </a:xfrm>
        </p:spPr>
        <p:txBody>
          <a:bodyPr/>
          <a:lstStyle/>
          <a:p>
            <a:r>
              <a:rPr lang="cs-CZ" dirty="0"/>
              <a:t>Počty pracovníků ve zdravotnictví (ZP) s nákazou COVID-19</a:t>
            </a: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7C1367ED-B273-4E58-BBB3-AD1B81F63A1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86415099"/>
              </p:ext>
            </p:extLst>
          </p:nvPr>
        </p:nvGraphicFramePr>
        <p:xfrm>
          <a:off x="1093858" y="1238720"/>
          <a:ext cx="10041310" cy="4754200"/>
        </p:xfrm>
        <a:graphic>
          <a:graphicData uri="http://schemas.openxmlformats.org/drawingml/2006/table">
            <a:tbl>
              <a:tblPr/>
              <a:tblGrid>
                <a:gridCol w="2694402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1836727">
                  <a:extLst>
                    <a:ext uri="{9D8B030D-6E8A-4147-A177-3AD203B41FA5}">
                      <a16:colId xmlns:a16="http://schemas.microsoft.com/office/drawing/2014/main" val="3345832007"/>
                    </a:ext>
                  </a:extLst>
                </a:gridCol>
                <a:gridCol w="1836727">
                  <a:extLst>
                    <a:ext uri="{9D8B030D-6E8A-4147-A177-3AD203B41FA5}">
                      <a16:colId xmlns:a16="http://schemas.microsoft.com/office/drawing/2014/main" val="3216505177"/>
                    </a:ext>
                  </a:extLst>
                </a:gridCol>
                <a:gridCol w="1836727">
                  <a:extLst>
                    <a:ext uri="{9D8B030D-6E8A-4147-A177-3AD203B41FA5}">
                      <a16:colId xmlns:a16="http://schemas.microsoft.com/office/drawing/2014/main" val="1240375351"/>
                    </a:ext>
                  </a:extLst>
                </a:gridCol>
                <a:gridCol w="1836727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</a:tblGrid>
              <a:tr h="763945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celkem 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(*z toho v nemocnicích akutní lůžkové péče / ambulance PL, PLDD, PL gynekolog / ambulance zubního lékaře)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ékaři</a:t>
                      </a:r>
                      <a:endParaRPr lang="cs-CZ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esterská povolání 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(§ 5 Všeobecná sestra, § 5a Dětská sestra, § 6 Porodní asistentka, § 21b Praktická sestra)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statní zdravotničtí pracovníci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(11 / 6 / 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 (35 / 1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 (14 / - / 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9 (60 / 7 / 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4 / 2 / 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(11 / 2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(5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 (20 / 4 / 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3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5 / -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(9 / -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 / -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6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5 / -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(12 / - / 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- / 1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2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2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4 / 1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6 / 1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(17 / 1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(14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 (37 / 2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5 / 2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3 / -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8 / 2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6 / 1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8 / -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2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(16 / 1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- / 1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12 / 2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3 / -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 (15 / 3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 / 2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11 / 1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1 / 1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(13 / 4 / 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8 / 2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(21 / 1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(6 / -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 (35 / 3 / 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3 / -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(12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(5 / -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(20 / - / 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14 / 1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5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 (20 / 1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7 / 2 / 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(19 / 6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(13 / - / 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 (39 / 8 / 1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 (49 / 18 / 1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2 (176 / 17 / 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8 (83 / 1 / 2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8 (308 / 36 / 4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</a:tbl>
          </a:graphicData>
        </a:graphic>
      </p:graphicFrame>
      <p:sp>
        <p:nvSpPr>
          <p:cNvPr id="6" name="Obdélník 4">
            <a:extLst>
              <a:ext uri="{FF2B5EF4-FFF2-40B4-BE49-F238E27FC236}">
                <a16:creationId xmlns:a16="http://schemas.microsoft.com/office/drawing/2014/main" id="{CF4F4DD4-5D05-4AA4-B6B7-30E2E7BF4344}"/>
              </a:ext>
            </a:extLst>
          </p:cNvPr>
          <p:cNvSpPr/>
          <p:nvPr/>
        </p:nvSpPr>
        <p:spPr>
          <a:xfrm>
            <a:off x="609693" y="724725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ctr"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nově COVID-19 pozitivních </a:t>
            </a:r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za 7denní období 19. 12. – 25. 12. 2021 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7DA84AC6-10F0-4D41-9F1A-6572994DE132}"/>
              </a:ext>
            </a:extLst>
          </p:cNvPr>
          <p:cNvSpPr txBox="1"/>
          <p:nvPr/>
        </p:nvSpPr>
        <p:spPr>
          <a:xfrm>
            <a:off x="3707125" y="6081831"/>
            <a:ext cx="70547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dirty="0"/>
              <a:t>Barevné škály vizualizují rozsah hodnot v územích v rámci sledovaného ukazatele (sloupce)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648325E5-F71A-402A-B781-52C4AA1B55C4}"/>
              </a:ext>
            </a:extLst>
          </p:cNvPr>
          <p:cNvSpPr txBox="1"/>
          <p:nvPr/>
        </p:nvSpPr>
        <p:spPr>
          <a:xfrm>
            <a:off x="1495631" y="6316806"/>
            <a:ext cx="938316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* zdravotničtí pracovníci mohou být zaměstnáni ve více typech zdravotnických zařízení a jsou pak započítáni do každé příslušné skupiny</a:t>
            </a:r>
          </a:p>
        </p:txBody>
      </p:sp>
      <p:grpSp>
        <p:nvGrpSpPr>
          <p:cNvPr id="17" name="Skupina 16">
            <a:extLst>
              <a:ext uri="{FF2B5EF4-FFF2-40B4-BE49-F238E27FC236}">
                <a16:creationId xmlns:a16="http://schemas.microsoft.com/office/drawing/2014/main" id="{747C38F7-A7F7-4B0C-9D0A-01511E1A6161}"/>
              </a:ext>
            </a:extLst>
          </p:cNvPr>
          <p:cNvGrpSpPr/>
          <p:nvPr/>
        </p:nvGrpSpPr>
        <p:grpSpPr>
          <a:xfrm>
            <a:off x="1592578" y="6134593"/>
            <a:ext cx="2143122" cy="171474"/>
            <a:chOff x="2185672" y="6586960"/>
            <a:chExt cx="2143122" cy="171474"/>
          </a:xfrm>
        </p:grpSpPr>
        <p:sp>
          <p:nvSpPr>
            <p:cNvPr id="18" name="TextovéPole 17">
              <a:extLst>
                <a:ext uri="{FF2B5EF4-FFF2-40B4-BE49-F238E27FC236}">
                  <a16:creationId xmlns:a16="http://schemas.microsoft.com/office/drawing/2014/main" id="{159EDEC4-9347-43EC-A452-533F0BDD4739}"/>
                </a:ext>
              </a:extLst>
            </p:cNvPr>
            <p:cNvSpPr txBox="1"/>
            <p:nvPr/>
          </p:nvSpPr>
          <p:spPr>
            <a:xfrm>
              <a:off x="2185672" y="6586960"/>
              <a:ext cx="2143122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cs-CZ" sz="1000" dirty="0"/>
                <a:t>min %                                    max %</a:t>
              </a:r>
            </a:p>
          </p:txBody>
        </p:sp>
        <p:pic>
          <p:nvPicPr>
            <p:cNvPr id="19" name="Obrázek 18">
              <a:extLst>
                <a:ext uri="{FF2B5EF4-FFF2-40B4-BE49-F238E27FC236}">
                  <a16:creationId xmlns:a16="http://schemas.microsoft.com/office/drawing/2014/main" id="{67B50C2A-82CD-4E17-A551-738737906C9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653291" y="6586960"/>
              <a:ext cx="1190791" cy="17147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61000715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1"/>
          <p:cNvSpPr txBox="1">
            <a:spLocks/>
          </p:cNvSpPr>
          <p:nvPr/>
        </p:nvSpPr>
        <p:spPr>
          <a:xfrm>
            <a:off x="0" y="3900346"/>
            <a:ext cx="12192000" cy="1890853"/>
          </a:xfrm>
          <a:prstGeom prst="rect">
            <a:avLst/>
          </a:prstGeom>
        </p:spPr>
        <p:txBody>
          <a:bodyPr vert="horz" lIns="91440" tIns="45720" rIns="91440" bIns="45720" rtlCol="0" anchor="b">
            <a:normAutofit lnSpcReduction="1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III.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Nákazy zdravotnických pracovníků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a ochranný efekt očkování</a:t>
            </a:r>
          </a:p>
        </p:txBody>
      </p:sp>
      <p:sp>
        <p:nvSpPr>
          <p:cNvPr id="5" name="Nadpis 1"/>
          <p:cNvSpPr txBox="1">
            <a:spLocks/>
          </p:cNvSpPr>
          <p:nvPr/>
        </p:nvSpPr>
        <p:spPr>
          <a:xfrm>
            <a:off x="73152" y="1801368"/>
            <a:ext cx="12192000" cy="169057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tav a vývoj epidemie COVID-19 </a:t>
            </a:r>
            <a:b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v dostupných datech</a:t>
            </a:r>
          </a:p>
        </p:txBody>
      </p:sp>
    </p:spTree>
    <p:extLst>
      <p:ext uri="{BB962C8B-B14F-4D97-AF65-F5344CB8AC3E}">
        <p14:creationId xmlns:p14="http://schemas.microsoft.com/office/powerpoint/2010/main" val="323631487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Graf 9">
            <a:extLst>
              <a:ext uri="{FF2B5EF4-FFF2-40B4-BE49-F238E27FC236}">
                <a16:creationId xmlns:a16="http://schemas.microsoft.com/office/drawing/2014/main" id="{9A6C5758-F634-4719-AB93-A6AA9C800B77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6209007"/>
              </p:ext>
            </p:extLst>
          </p:nvPr>
        </p:nvGraphicFramePr>
        <p:xfrm>
          <a:off x="287979" y="886720"/>
          <a:ext cx="11370005" cy="58833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" name="Nadpis 3">
            <a:extLst>
              <a:ext uri="{FF2B5EF4-FFF2-40B4-BE49-F238E27FC236}">
                <a16:creationId xmlns:a16="http://schemas.microsoft.com/office/drawing/2014/main" id="{2FE90CF0-2B13-4453-9548-96577BE18280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09330" y="3624"/>
            <a:ext cx="10600711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nových případů COVID-19 na 100 tis. dané kategorie v populaci lékařů</a:t>
            </a: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FA0B88B6-A122-42D4-8249-DE000D8A7E7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4262595" y="1110693"/>
            <a:ext cx="22375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ékaři</a:t>
            </a:r>
          </a:p>
        </p:txBody>
      </p:sp>
      <p:graphicFrame>
        <p:nvGraphicFramePr>
          <p:cNvPr id="9" name="Tabulka 6">
            <a:extLst>
              <a:ext uri="{FF2B5EF4-FFF2-40B4-BE49-F238E27FC236}">
                <a16:creationId xmlns:a16="http://schemas.microsoft.com/office/drawing/2014/main" id="{C33DDF87-8A14-4C71-93BC-BFDDBC5B936C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8846924" y="1020334"/>
          <a:ext cx="2954284" cy="13817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954284">
                  <a:extLst>
                    <a:ext uri="{9D8B030D-6E8A-4147-A177-3AD203B41FA5}">
                      <a16:colId xmlns:a16="http://schemas.microsoft.com/office/drawing/2014/main" val="11414929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cs-CZ" b="1" dirty="0"/>
                        <a:t>7 denní průmě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353914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cs-CZ" dirty="0"/>
                        <a:t>Bez očkování nebo nedokončené očkování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871676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cs-CZ" dirty="0"/>
                        <a:t>Ukončené očkování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07000598"/>
                  </a:ext>
                </a:extLst>
              </a:tr>
            </a:tbl>
          </a:graphicData>
        </a:graphic>
      </p:graphicFrame>
      <p:pic>
        <p:nvPicPr>
          <p:cNvPr id="11" name="Obrázek 10">
            <a:extLst>
              <a:ext uri="{FF2B5EF4-FFF2-40B4-BE49-F238E27FC236}">
                <a16:creationId xmlns:a16="http://schemas.microsoft.com/office/drawing/2014/main" id="{86118C8C-F11F-405D-8E97-E3747A640BF9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10000" b="90000" l="10000" r="90000">
                        <a14:foregroundMark x1="27451" y1="71591" x2="77451" y2="72727"/>
                        <a14:foregroundMark x1="59804" y1="71591" x2="59804" y2="71591"/>
                        <a14:foregroundMark x1="69608" y1="72727" x2="69608" y2="72727"/>
                        <a14:foregroundMark x1="28431" y1="29545" x2="28431" y2="29545"/>
                        <a14:foregroundMark x1="49329" y1="29545" x2="78431" y2="29545"/>
                        <a14:foregroundMark x1="29412" y1="29545" x2="30970" y2="29545"/>
                        <a14:foregroundMark x1="78431" y1="29545" x2="79412" y2="29545"/>
                        <a14:foregroundMark x1="79412" y1="31818" x2="79412" y2="31818"/>
                        <a14:foregroundMark x1="80392" y1="30682" x2="77451" y2="30682"/>
                        <a14:foregroundMark x1="24510" y1="29545" x2="29412" y2="30682"/>
                        <a14:foregroundMark x1="24510" y1="30682" x2="29412" y2="30682"/>
                        <a14:foregroundMark x1="48214" y1="31818" x2="77451" y2="31818"/>
                        <a14:foregroundMark x1="34314" y1="28409" x2="49020" y2="29545"/>
                        <a14:foregroundMark x1="32353" y1="31818" x2="78431" y2="31818"/>
                        <a14:foregroundMark x1="77451" y1="32955" x2="77451" y2="32955"/>
                        <a14:foregroundMark x1="78431" y1="32955" x2="78431" y2="32955"/>
                        <a14:foregroundMark x1="77451" y1="32955" x2="77451" y2="32955"/>
                        <a14:foregroundMark x1="78431" y1="32955" x2="76471" y2="31818"/>
                        <a14:backgroundMark x1="30392" y1="13636" x2="33872" y2="13636"/>
                        <a14:backgroundMark x1="34314" y1="22727" x2="37765" y2="21965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rot="10800000" flipV="1">
            <a:off x="8112043" y="1418957"/>
            <a:ext cx="917518" cy="1089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576573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05115" y="38814"/>
            <a:ext cx="11614422" cy="13234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ranný efekt plně dokončeného očkování: redukce počtu nákaz - lékaři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B44D7D87-2729-4F55-B1A0-2AB28A82B3CA}"/>
              </a:ext>
            </a:extLst>
          </p:cNvPr>
          <p:cNvSpPr txBox="1"/>
          <p:nvPr/>
        </p:nvSpPr>
        <p:spPr>
          <a:xfrm>
            <a:off x="3535052" y="626914"/>
            <a:ext cx="40547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ě pozitivní na 100 tis. </a:t>
            </a:r>
            <a:r>
              <a:rPr kumimoji="0" lang="en-US" sz="20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</a:t>
            </a:r>
            <a:r>
              <a:rPr kumimoji="0" lang="cs-CZ" sz="2000" b="1" i="0" u="sng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ékařů</a:t>
            </a:r>
            <a:r>
              <a:rPr kumimoji="0" lang="cs-CZ" sz="20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D473318D-4099-4B9B-AF32-91E153367DA0}"/>
              </a:ext>
            </a:extLst>
          </p:cNvPr>
          <p:cNvSpPr txBox="1"/>
          <p:nvPr/>
        </p:nvSpPr>
        <p:spPr>
          <a:xfrm>
            <a:off x="205115" y="6389511"/>
            <a:ext cx="118800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 Letní období je spojeno z důvodu nízkého počtu případů v jednotlivých měsících; ** Dokončené očkování: více než 14 dní po 2. dávce dvou dávkové vakcíny nebo více než 14 dní po jedno dávkové vakcinaci: relativní snížení výskytu nákaz je vztaženo ke kohortě neočkovaných nebo osob s nedokončeným očkováním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0" name="Table 5">
            <a:extLst>
              <a:ext uri="{FF2B5EF4-FFF2-40B4-BE49-F238E27FC236}">
                <a16:creationId xmlns:a16="http://schemas.microsoft.com/office/drawing/2014/main" id="{10F4A238-310C-43D5-9DDD-97D20F84F44C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1305267"/>
              </p:ext>
            </p:extLst>
          </p:nvPr>
        </p:nvGraphicFramePr>
        <p:xfrm>
          <a:off x="1777230" y="533334"/>
          <a:ext cx="9468550" cy="4377040"/>
        </p:xfrm>
        <a:graphic>
          <a:graphicData uri="http://schemas.openxmlformats.org/drawingml/2006/table">
            <a:tbl>
              <a:tblPr/>
              <a:tblGrid>
                <a:gridCol w="1814911">
                  <a:extLst>
                    <a:ext uri="{9D8B030D-6E8A-4147-A177-3AD203B41FA5}">
                      <a16:colId xmlns:a16="http://schemas.microsoft.com/office/drawing/2014/main" val="1012450698"/>
                    </a:ext>
                  </a:extLst>
                </a:gridCol>
                <a:gridCol w="2238431">
                  <a:extLst>
                    <a:ext uri="{9D8B030D-6E8A-4147-A177-3AD203B41FA5}">
                      <a16:colId xmlns:a16="http://schemas.microsoft.com/office/drawing/2014/main" val="2962437353"/>
                    </a:ext>
                  </a:extLst>
                </a:gridCol>
                <a:gridCol w="2238871">
                  <a:extLst>
                    <a:ext uri="{9D8B030D-6E8A-4147-A177-3AD203B41FA5}">
                      <a16:colId xmlns:a16="http://schemas.microsoft.com/office/drawing/2014/main" val="2908102936"/>
                    </a:ext>
                  </a:extLst>
                </a:gridCol>
                <a:gridCol w="3176337">
                  <a:extLst>
                    <a:ext uri="{9D8B030D-6E8A-4147-A177-3AD203B41FA5}">
                      <a16:colId xmlns:a16="http://schemas.microsoft.com/office/drawing/2014/main" val="1508245454"/>
                    </a:ext>
                  </a:extLst>
                </a:gridCol>
              </a:tblGrid>
              <a:tr h="394426">
                <a:tc>
                  <a:txBody>
                    <a:bodyPr/>
                    <a:lstStyle/>
                    <a:p>
                      <a:pPr algn="ctr" fontAlgn="b"/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2000" b="1" i="0" u="none" strike="noStrike" dirty="0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        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cs-CZ" sz="2000" b="1" i="0" u="none" strike="noStrike" dirty="0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16511605"/>
                  </a:ext>
                </a:extLst>
              </a:tr>
              <a:tr h="827206">
                <a:tc>
                  <a:txBody>
                    <a:bodyPr/>
                    <a:lstStyle/>
                    <a:p>
                      <a:pPr algn="l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ěsíc </a:t>
                      </a:r>
                    </a:p>
                    <a:p>
                      <a:pPr algn="l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ku 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očkovaní a bez do</a:t>
                      </a:r>
                      <a:r>
                        <a:rPr lang="en-US" sz="1800" b="1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on</a:t>
                      </a:r>
                      <a:r>
                        <a:rPr lang="cs-CZ" sz="1800" b="1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čeného</a:t>
                      </a:r>
                      <a:r>
                        <a:rPr lang="cs-CZ" sz="18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očková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 </a:t>
                      </a:r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</a:t>
                      </a:r>
                      <a:r>
                        <a:rPr lang="en-US" sz="1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on</a:t>
                      </a:r>
                      <a:r>
                        <a:rPr lang="cs-CZ" sz="1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ném</a:t>
                      </a:r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čková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Redukce nákaz **</a:t>
                      </a:r>
                    </a:p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o dokončeném</a:t>
                      </a:r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očková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1661197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řez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09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1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6.5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801451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ub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6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78.5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00031847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3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70.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4143900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-Srp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2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71.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454973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5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47.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4899942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3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1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40.2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4676902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stopad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02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79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53.4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0465014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sinec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46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9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54.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0935764"/>
                  </a:ext>
                </a:extLst>
              </a:tr>
            </a:tbl>
          </a:graphicData>
        </a:graphic>
      </p:graphicFrame>
      <p:sp>
        <p:nvSpPr>
          <p:cNvPr id="12" name="TextBox 6">
            <a:extLst>
              <a:ext uri="{FF2B5EF4-FFF2-40B4-BE49-F238E27FC236}">
                <a16:creationId xmlns:a16="http://schemas.microsoft.com/office/drawing/2014/main" id="{4E5136DD-EA08-44B4-9244-D47999FE566C}"/>
              </a:ext>
            </a:extLst>
          </p:cNvPr>
          <p:cNvSpPr txBox="1"/>
          <p:nvPr/>
        </p:nvSpPr>
        <p:spPr>
          <a:xfrm>
            <a:off x="1777230" y="4831754"/>
            <a:ext cx="20186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v k 27. 12. 2021</a:t>
            </a: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5B5B0BB0-5406-461D-A320-1D46AFD62DAA}"/>
              </a:ext>
            </a:extLst>
          </p:cNvPr>
          <p:cNvSpPr txBox="1"/>
          <p:nvPr/>
        </p:nvSpPr>
        <p:spPr>
          <a:xfrm>
            <a:off x="262533" y="5101737"/>
            <a:ext cx="1176521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ranný efekt vakcinace proti nákaze v čase klesá. Populace zdravotnických pracovníků je v tomto ohledu velmi důležitý model – jednak byli očkování mezi prvními na počátku 2021 a jednak jde o profesní skupinu primárně vystavenou riziku nákazy. Zásadním faktem ovšem je, že ochranný efekt vakcinace proti těžkému průběhu nemoci trvá i v této profesní kategorii. V současnosti registrujeme pouze jednotky ZP s těžším průběhem nemoci po očkování. 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0994600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Graf 9">
            <a:extLst>
              <a:ext uri="{FF2B5EF4-FFF2-40B4-BE49-F238E27FC236}">
                <a16:creationId xmlns:a16="http://schemas.microsoft.com/office/drawing/2014/main" id="{BCCEF7F4-60D7-46B4-B95D-88F70A4D4E22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5281738"/>
              </p:ext>
            </p:extLst>
          </p:nvPr>
        </p:nvGraphicFramePr>
        <p:xfrm>
          <a:off x="287979" y="886720"/>
          <a:ext cx="11370005" cy="58833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" name="Nadpis 3">
            <a:extLst>
              <a:ext uri="{FF2B5EF4-FFF2-40B4-BE49-F238E27FC236}">
                <a16:creationId xmlns:a16="http://schemas.microsoft.com/office/drawing/2014/main" id="{2FE90CF0-2B13-4453-9548-96577BE18280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09330" y="3624"/>
            <a:ext cx="11691878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nových případů COVID-19 na 100 tis. dané kategorie v populaci sester</a:t>
            </a: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FA0B88B6-A122-42D4-8249-DE000D8A7E7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4564955" y="1215468"/>
            <a:ext cx="22375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stry</a:t>
            </a:r>
          </a:p>
        </p:txBody>
      </p:sp>
      <p:graphicFrame>
        <p:nvGraphicFramePr>
          <p:cNvPr id="14" name="Tabulka 6">
            <a:extLst>
              <a:ext uri="{FF2B5EF4-FFF2-40B4-BE49-F238E27FC236}">
                <a16:creationId xmlns:a16="http://schemas.microsoft.com/office/drawing/2014/main" id="{2437943F-BD8E-4C02-97C2-1582C83DCB1C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8846924" y="1020334"/>
          <a:ext cx="2954284" cy="13817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954284">
                  <a:extLst>
                    <a:ext uri="{9D8B030D-6E8A-4147-A177-3AD203B41FA5}">
                      <a16:colId xmlns:a16="http://schemas.microsoft.com/office/drawing/2014/main" val="11414929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cs-CZ" b="1" dirty="0"/>
                        <a:t>7 denní průmě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353914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cs-CZ" dirty="0"/>
                        <a:t>Bez očkování nebo nedokončené očkování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871676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cs-CZ" dirty="0"/>
                        <a:t>Ukončené očkování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07000598"/>
                  </a:ext>
                </a:extLst>
              </a:tr>
            </a:tbl>
          </a:graphicData>
        </a:graphic>
      </p:graphicFrame>
      <p:pic>
        <p:nvPicPr>
          <p:cNvPr id="8" name="Obrázek 7">
            <a:extLst>
              <a:ext uri="{FF2B5EF4-FFF2-40B4-BE49-F238E27FC236}">
                <a16:creationId xmlns:a16="http://schemas.microsoft.com/office/drawing/2014/main" id="{3D86CEB2-6B62-4921-BB74-B46CF4D5A227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10000" b="90000" l="10000" r="90000">
                        <a14:foregroundMark x1="27451" y1="71591" x2="77451" y2="72727"/>
                        <a14:foregroundMark x1="59804" y1="71591" x2="59804" y2="71591"/>
                        <a14:foregroundMark x1="69608" y1="72727" x2="69608" y2="72727"/>
                        <a14:foregroundMark x1="28431" y1="29545" x2="28431" y2="29545"/>
                        <a14:foregroundMark x1="49329" y1="29545" x2="78431" y2="29545"/>
                        <a14:foregroundMark x1="29412" y1="29545" x2="30970" y2="29545"/>
                        <a14:foregroundMark x1="78431" y1="29545" x2="79412" y2="29545"/>
                        <a14:foregroundMark x1="79412" y1="31818" x2="79412" y2="31818"/>
                        <a14:foregroundMark x1="80392" y1="30682" x2="77451" y2="30682"/>
                        <a14:foregroundMark x1="24510" y1="29545" x2="29412" y2="30682"/>
                        <a14:foregroundMark x1="24510" y1="30682" x2="29412" y2="30682"/>
                        <a14:foregroundMark x1="48214" y1="31818" x2="77451" y2="31818"/>
                        <a14:foregroundMark x1="34314" y1="28409" x2="49020" y2="29545"/>
                        <a14:foregroundMark x1="32353" y1="31818" x2="78431" y2="31818"/>
                        <a14:foregroundMark x1="77451" y1="32955" x2="77451" y2="32955"/>
                        <a14:foregroundMark x1="78431" y1="32955" x2="78431" y2="32955"/>
                        <a14:foregroundMark x1="77451" y1="32955" x2="77451" y2="32955"/>
                        <a14:foregroundMark x1="78431" y1="32955" x2="76471" y2="31818"/>
                        <a14:backgroundMark x1="30392" y1="13636" x2="33872" y2="13636"/>
                        <a14:backgroundMark x1="34314" y1="22727" x2="37765" y2="21965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rot="10800000" flipV="1">
            <a:off x="8112043" y="1418957"/>
            <a:ext cx="917518" cy="1089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4805130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05115" y="38814"/>
            <a:ext cx="11614422" cy="13234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ranný efekt plně dokončeného očkování: redukce počtu nákaz - sestry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B44D7D87-2729-4F55-B1A0-2AB28A82B3CA}"/>
              </a:ext>
            </a:extLst>
          </p:cNvPr>
          <p:cNvSpPr txBox="1"/>
          <p:nvPr/>
        </p:nvSpPr>
        <p:spPr>
          <a:xfrm>
            <a:off x="3350326" y="561308"/>
            <a:ext cx="40547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ě pozitivní na 100 tis. sester </a:t>
            </a: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D473318D-4099-4B9B-AF32-91E153367DA0}"/>
              </a:ext>
            </a:extLst>
          </p:cNvPr>
          <p:cNvSpPr txBox="1"/>
          <p:nvPr/>
        </p:nvSpPr>
        <p:spPr>
          <a:xfrm>
            <a:off x="205115" y="6389511"/>
            <a:ext cx="118800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 Letní období je spojeno z důvodu nízkého počtu případů v jednotlivých měsících; ** Dokončené očkování: více než 14 dní po 2. dávce dvou dávkové vakcíny nebo více než 14 dní po jedno dávkové vakcinaci: relativní snížení výskytu nákaz je vztaženo ke kohortě neočkovaných nebo osob s nedokončeným očkováním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0" name="Table 5">
            <a:extLst>
              <a:ext uri="{FF2B5EF4-FFF2-40B4-BE49-F238E27FC236}">
                <a16:creationId xmlns:a16="http://schemas.microsoft.com/office/drawing/2014/main" id="{FAFEA63F-04FB-40D6-90F8-9B8C35D88AED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98558703"/>
              </p:ext>
            </p:extLst>
          </p:nvPr>
        </p:nvGraphicFramePr>
        <p:xfrm>
          <a:off x="1417014" y="561308"/>
          <a:ext cx="9468550" cy="4377040"/>
        </p:xfrm>
        <a:graphic>
          <a:graphicData uri="http://schemas.openxmlformats.org/drawingml/2006/table">
            <a:tbl>
              <a:tblPr/>
              <a:tblGrid>
                <a:gridCol w="1814911">
                  <a:extLst>
                    <a:ext uri="{9D8B030D-6E8A-4147-A177-3AD203B41FA5}">
                      <a16:colId xmlns:a16="http://schemas.microsoft.com/office/drawing/2014/main" val="1012450698"/>
                    </a:ext>
                  </a:extLst>
                </a:gridCol>
                <a:gridCol w="2238431">
                  <a:extLst>
                    <a:ext uri="{9D8B030D-6E8A-4147-A177-3AD203B41FA5}">
                      <a16:colId xmlns:a16="http://schemas.microsoft.com/office/drawing/2014/main" val="2962437353"/>
                    </a:ext>
                  </a:extLst>
                </a:gridCol>
                <a:gridCol w="2238871">
                  <a:extLst>
                    <a:ext uri="{9D8B030D-6E8A-4147-A177-3AD203B41FA5}">
                      <a16:colId xmlns:a16="http://schemas.microsoft.com/office/drawing/2014/main" val="2908102936"/>
                    </a:ext>
                  </a:extLst>
                </a:gridCol>
                <a:gridCol w="3176337">
                  <a:extLst>
                    <a:ext uri="{9D8B030D-6E8A-4147-A177-3AD203B41FA5}">
                      <a16:colId xmlns:a16="http://schemas.microsoft.com/office/drawing/2014/main" val="1508245454"/>
                    </a:ext>
                  </a:extLst>
                </a:gridCol>
              </a:tblGrid>
              <a:tr h="394426">
                <a:tc>
                  <a:txBody>
                    <a:bodyPr/>
                    <a:lstStyle/>
                    <a:p>
                      <a:pPr algn="ctr" fontAlgn="b"/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2000" b="1" i="0" u="none" strike="noStrike" dirty="0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        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cs-CZ" sz="2000" b="1" i="0" u="none" strike="noStrike" dirty="0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16511605"/>
                  </a:ext>
                </a:extLst>
              </a:tr>
              <a:tr h="827206">
                <a:tc>
                  <a:txBody>
                    <a:bodyPr/>
                    <a:lstStyle/>
                    <a:p>
                      <a:pPr algn="l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ěsíc </a:t>
                      </a:r>
                    </a:p>
                    <a:p>
                      <a:pPr algn="l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ku 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očkovaní a bez do</a:t>
                      </a:r>
                      <a:r>
                        <a:rPr lang="en-US" sz="1800" b="1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on</a:t>
                      </a:r>
                      <a:r>
                        <a:rPr lang="cs-CZ" sz="1800" b="1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čeného</a:t>
                      </a:r>
                      <a:r>
                        <a:rPr lang="cs-CZ" sz="18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očková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 </a:t>
                      </a:r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</a:t>
                      </a:r>
                      <a:r>
                        <a:rPr lang="en-US" sz="1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on</a:t>
                      </a:r>
                      <a:r>
                        <a:rPr lang="cs-CZ" sz="1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ném</a:t>
                      </a:r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čková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Redukce nákaz **</a:t>
                      </a:r>
                    </a:p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o dokončeném</a:t>
                      </a:r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očková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1661197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řez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20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3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6.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801451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ub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5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9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6.9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1456686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2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1.9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4143900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-Srp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9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77.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454973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5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72.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4899942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4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0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67.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0465014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stopad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05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76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62.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4062941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sinec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15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68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63.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0935764"/>
                  </a:ext>
                </a:extLst>
              </a:tr>
            </a:tbl>
          </a:graphicData>
        </a:graphic>
      </p:graphicFrame>
      <p:sp>
        <p:nvSpPr>
          <p:cNvPr id="12" name="TextBox 6">
            <a:extLst>
              <a:ext uri="{FF2B5EF4-FFF2-40B4-BE49-F238E27FC236}">
                <a16:creationId xmlns:a16="http://schemas.microsoft.com/office/drawing/2014/main" id="{A1BE29D4-5059-46A8-8336-40CC2C52E68C}"/>
              </a:ext>
            </a:extLst>
          </p:cNvPr>
          <p:cNvSpPr txBox="1"/>
          <p:nvPr/>
        </p:nvSpPr>
        <p:spPr>
          <a:xfrm>
            <a:off x="1417014" y="4873668"/>
            <a:ext cx="20186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v k 27. 12. 2021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44D16114-8A1C-47F6-83C5-8DA746CAC7CE}"/>
              </a:ext>
            </a:extLst>
          </p:cNvPr>
          <p:cNvSpPr txBox="1"/>
          <p:nvPr/>
        </p:nvSpPr>
        <p:spPr>
          <a:xfrm>
            <a:off x="262533" y="5010468"/>
            <a:ext cx="1176521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ranný efekt vakcinace proti nákaze v čase klesá. Populace zdravotnických pracovníků je v tomto ohledu velmi důležitý model – jednak byli očkování mezi prvními na počátku 2021 a jednak jde o profesní skupinu primárně vystavenou riziku nákazy. Zásadním faktem ovšem je, že ochranný efekt vakcinace proti těžkému průběhu nemoci trvá i v této profesní kategorii. V současnosti registrujeme pouze jednotky ZP s těžším průběhem nemoci po očkování. 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59546412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Graf 9">
            <a:extLst>
              <a:ext uri="{FF2B5EF4-FFF2-40B4-BE49-F238E27FC236}">
                <a16:creationId xmlns:a16="http://schemas.microsoft.com/office/drawing/2014/main" id="{7FE9486C-9D7B-4F78-A06B-1A43F68807D4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7529530"/>
              </p:ext>
            </p:extLst>
          </p:nvPr>
        </p:nvGraphicFramePr>
        <p:xfrm>
          <a:off x="287979" y="886720"/>
          <a:ext cx="11370005" cy="58833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" name="Nadpis 3">
            <a:extLst>
              <a:ext uri="{FF2B5EF4-FFF2-40B4-BE49-F238E27FC236}">
                <a16:creationId xmlns:a16="http://schemas.microsoft.com/office/drawing/2014/main" id="{2FE90CF0-2B13-4453-9548-96577BE18280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09330" y="3624"/>
            <a:ext cx="11232925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nových případů COVID-19 na 100 tis. dané kategorie: populace ostatních ZP</a:t>
            </a: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FA0B88B6-A122-42D4-8249-DE000D8A7E7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4444630" y="1272618"/>
            <a:ext cx="22375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statní ZP</a:t>
            </a:r>
          </a:p>
        </p:txBody>
      </p:sp>
      <p:graphicFrame>
        <p:nvGraphicFramePr>
          <p:cNvPr id="14" name="Tabulka 6">
            <a:extLst>
              <a:ext uri="{FF2B5EF4-FFF2-40B4-BE49-F238E27FC236}">
                <a16:creationId xmlns:a16="http://schemas.microsoft.com/office/drawing/2014/main" id="{2437943F-BD8E-4C02-97C2-1582C83DCB1C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8846924" y="1020334"/>
          <a:ext cx="2954284" cy="13817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954284">
                  <a:extLst>
                    <a:ext uri="{9D8B030D-6E8A-4147-A177-3AD203B41FA5}">
                      <a16:colId xmlns:a16="http://schemas.microsoft.com/office/drawing/2014/main" val="11414929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cs-CZ" b="1" dirty="0"/>
                        <a:t>7 denní průmě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353914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cs-CZ" dirty="0"/>
                        <a:t>Bez očkování nebo nedokončené očkování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871676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cs-CZ" dirty="0"/>
                        <a:t>Ukončené očkování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07000598"/>
                  </a:ext>
                </a:extLst>
              </a:tr>
            </a:tbl>
          </a:graphicData>
        </a:graphic>
      </p:graphicFrame>
      <p:pic>
        <p:nvPicPr>
          <p:cNvPr id="8" name="Obrázek 7">
            <a:extLst>
              <a:ext uri="{FF2B5EF4-FFF2-40B4-BE49-F238E27FC236}">
                <a16:creationId xmlns:a16="http://schemas.microsoft.com/office/drawing/2014/main" id="{38602B0B-CEB9-4E9D-8C0C-ACF8FD6CEBD7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10000" b="90000" l="10000" r="90000">
                        <a14:foregroundMark x1="27451" y1="71591" x2="77451" y2="72727"/>
                        <a14:foregroundMark x1="59804" y1="71591" x2="59804" y2="71591"/>
                        <a14:foregroundMark x1="69608" y1="72727" x2="69608" y2="72727"/>
                        <a14:foregroundMark x1="28431" y1="29545" x2="28431" y2="29545"/>
                        <a14:foregroundMark x1="49329" y1="29545" x2="78431" y2="29545"/>
                        <a14:foregroundMark x1="29412" y1="29545" x2="30970" y2="29545"/>
                        <a14:foregroundMark x1="78431" y1="29545" x2="79412" y2="29545"/>
                        <a14:foregroundMark x1="79412" y1="31818" x2="79412" y2="31818"/>
                        <a14:foregroundMark x1="80392" y1="30682" x2="77451" y2="30682"/>
                        <a14:foregroundMark x1="24510" y1="29545" x2="29412" y2="30682"/>
                        <a14:foregroundMark x1="24510" y1="30682" x2="29412" y2="30682"/>
                        <a14:foregroundMark x1="48214" y1="31818" x2="77451" y2="31818"/>
                        <a14:foregroundMark x1="34314" y1="28409" x2="49020" y2="29545"/>
                        <a14:foregroundMark x1="32353" y1="31818" x2="78431" y2="31818"/>
                        <a14:foregroundMark x1="77451" y1="32955" x2="77451" y2="32955"/>
                        <a14:foregroundMark x1="78431" y1="32955" x2="78431" y2="32955"/>
                        <a14:foregroundMark x1="77451" y1="32955" x2="77451" y2="32955"/>
                        <a14:foregroundMark x1="78431" y1="32955" x2="76471" y2="31818"/>
                        <a14:backgroundMark x1="30392" y1="13636" x2="33872" y2="13636"/>
                        <a14:backgroundMark x1="34314" y1="22727" x2="37765" y2="21965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rot="10800000" flipV="1">
            <a:off x="8112043" y="1418957"/>
            <a:ext cx="917518" cy="1089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1503186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05115" y="38814"/>
            <a:ext cx="11614422" cy="13234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ranný efekt plně dokončeného očkování: redukce počtu nákaz – ostatní ZP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B44D7D87-2729-4F55-B1A0-2AB28A82B3CA}"/>
              </a:ext>
            </a:extLst>
          </p:cNvPr>
          <p:cNvSpPr txBox="1"/>
          <p:nvPr/>
        </p:nvSpPr>
        <p:spPr>
          <a:xfrm>
            <a:off x="3479634" y="673357"/>
            <a:ext cx="433259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ě pozitivní na 100 tis. ostatních ZP </a:t>
            </a: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D473318D-4099-4B9B-AF32-91E153367DA0}"/>
              </a:ext>
            </a:extLst>
          </p:cNvPr>
          <p:cNvSpPr txBox="1"/>
          <p:nvPr/>
        </p:nvSpPr>
        <p:spPr>
          <a:xfrm>
            <a:off x="205115" y="6389511"/>
            <a:ext cx="118800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 Letní období je spojeno z důvodu nízkého počtu případů v jednotlivých měsících; ** Dokončené očkování: více než 14 dní po 2. dávce dvou dávkové vakcíny nebo více než 14 dní po jedno dávkové vakcinaci: relativní snížení výskytu nákaz je vztaženo ke kohortě neočkovaných nebo osob s nedokončeným očkováním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8" name="Table 5">
            <a:extLst>
              <a:ext uri="{FF2B5EF4-FFF2-40B4-BE49-F238E27FC236}">
                <a16:creationId xmlns:a16="http://schemas.microsoft.com/office/drawing/2014/main" id="{EB02C89D-4557-42AD-AF89-7DAB06F8F618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516205"/>
              </p:ext>
            </p:extLst>
          </p:nvPr>
        </p:nvGraphicFramePr>
        <p:xfrm>
          <a:off x="1666394" y="580369"/>
          <a:ext cx="9468550" cy="4377040"/>
        </p:xfrm>
        <a:graphic>
          <a:graphicData uri="http://schemas.openxmlformats.org/drawingml/2006/table">
            <a:tbl>
              <a:tblPr/>
              <a:tblGrid>
                <a:gridCol w="1814911">
                  <a:extLst>
                    <a:ext uri="{9D8B030D-6E8A-4147-A177-3AD203B41FA5}">
                      <a16:colId xmlns:a16="http://schemas.microsoft.com/office/drawing/2014/main" val="1012450698"/>
                    </a:ext>
                  </a:extLst>
                </a:gridCol>
                <a:gridCol w="2238431">
                  <a:extLst>
                    <a:ext uri="{9D8B030D-6E8A-4147-A177-3AD203B41FA5}">
                      <a16:colId xmlns:a16="http://schemas.microsoft.com/office/drawing/2014/main" val="2962437353"/>
                    </a:ext>
                  </a:extLst>
                </a:gridCol>
                <a:gridCol w="2238871">
                  <a:extLst>
                    <a:ext uri="{9D8B030D-6E8A-4147-A177-3AD203B41FA5}">
                      <a16:colId xmlns:a16="http://schemas.microsoft.com/office/drawing/2014/main" val="2908102936"/>
                    </a:ext>
                  </a:extLst>
                </a:gridCol>
                <a:gridCol w="3176337">
                  <a:extLst>
                    <a:ext uri="{9D8B030D-6E8A-4147-A177-3AD203B41FA5}">
                      <a16:colId xmlns:a16="http://schemas.microsoft.com/office/drawing/2014/main" val="1508245454"/>
                    </a:ext>
                  </a:extLst>
                </a:gridCol>
              </a:tblGrid>
              <a:tr h="394426">
                <a:tc>
                  <a:txBody>
                    <a:bodyPr/>
                    <a:lstStyle/>
                    <a:p>
                      <a:pPr algn="ctr" fontAlgn="b"/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2000" b="1" i="0" u="none" strike="noStrike" dirty="0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        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cs-CZ" sz="2000" b="1" i="0" u="none" strike="noStrike" dirty="0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16511605"/>
                  </a:ext>
                </a:extLst>
              </a:tr>
              <a:tr h="827206">
                <a:tc>
                  <a:txBody>
                    <a:bodyPr/>
                    <a:lstStyle/>
                    <a:p>
                      <a:pPr algn="l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ěsíc </a:t>
                      </a:r>
                    </a:p>
                    <a:p>
                      <a:pPr algn="l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ku 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očkovaní a bez do</a:t>
                      </a:r>
                      <a:r>
                        <a:rPr lang="en-US" sz="1800" b="1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on</a:t>
                      </a:r>
                      <a:r>
                        <a:rPr lang="cs-CZ" sz="1800" b="1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čeného</a:t>
                      </a:r>
                      <a:r>
                        <a:rPr lang="cs-CZ" sz="18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očková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 </a:t>
                      </a:r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</a:t>
                      </a:r>
                      <a:r>
                        <a:rPr lang="en-US" sz="1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on</a:t>
                      </a:r>
                      <a:r>
                        <a:rPr lang="cs-CZ" sz="1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ném</a:t>
                      </a:r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čková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Redukce nákaz **</a:t>
                      </a:r>
                    </a:p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o dokončeném</a:t>
                      </a:r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očková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1661197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řez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68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4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8.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801451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ub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9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7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7.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4087038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8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1.1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5256930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-Srp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7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72.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4143900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1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72.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454973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42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0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69.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4899942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stopad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66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20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65.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0465014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sinec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23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9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67.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0935764"/>
                  </a:ext>
                </a:extLst>
              </a:tr>
            </a:tbl>
          </a:graphicData>
        </a:graphic>
      </p:graphicFrame>
      <p:sp>
        <p:nvSpPr>
          <p:cNvPr id="10" name="TextBox 6">
            <a:extLst>
              <a:ext uri="{FF2B5EF4-FFF2-40B4-BE49-F238E27FC236}">
                <a16:creationId xmlns:a16="http://schemas.microsoft.com/office/drawing/2014/main" id="{53D98EF4-F012-4FF8-820F-951E602B41D7}"/>
              </a:ext>
            </a:extLst>
          </p:cNvPr>
          <p:cNvSpPr txBox="1"/>
          <p:nvPr/>
        </p:nvSpPr>
        <p:spPr>
          <a:xfrm>
            <a:off x="1666394" y="4887170"/>
            <a:ext cx="20186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v k 27. 12. 2021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AC4C7860-74B9-47D2-87FF-FCD709F5F14C}"/>
              </a:ext>
            </a:extLst>
          </p:cNvPr>
          <p:cNvSpPr txBox="1"/>
          <p:nvPr/>
        </p:nvSpPr>
        <p:spPr>
          <a:xfrm>
            <a:off x="262533" y="5038176"/>
            <a:ext cx="1176521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ranný efekt vakcinace proti nákaze v čase klesá. Populace zdravotnických pracovníků je v tomto ohledu velmi důležitý model – jednak byli očkování mezi prvními na počátku 2021 a jednak jde o profesní skupinu primárně vystavenou riziku nákazy. Zásadním faktem ovšem je, že ochranný efekt vakcinace proti těžkému průběhu nemoci trvá i v této profesní kategorii. V současnosti registrujeme pouze jednotky ZP s těžším průběhem nemoci po očkování. 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46005372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Graf 9">
            <a:extLst>
              <a:ext uri="{FF2B5EF4-FFF2-40B4-BE49-F238E27FC236}">
                <a16:creationId xmlns:a16="http://schemas.microsoft.com/office/drawing/2014/main" id="{16E8B61E-7B09-49AD-B350-4EA2A0B2F245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3762164"/>
              </p:ext>
            </p:extLst>
          </p:nvPr>
        </p:nvGraphicFramePr>
        <p:xfrm>
          <a:off x="287979" y="886720"/>
          <a:ext cx="11370005" cy="58833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" name="Nadpis 3">
            <a:extLst>
              <a:ext uri="{FF2B5EF4-FFF2-40B4-BE49-F238E27FC236}">
                <a16:creationId xmlns:a16="http://schemas.microsoft.com/office/drawing/2014/main" id="{2FE90CF0-2B13-4453-9548-96577BE18280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09330" y="3624"/>
            <a:ext cx="11462559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nových případů COVID-19 na 100 tis. dané kategorie v populaci ZP celkem </a:t>
            </a: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FA0B88B6-A122-42D4-8249-DE000D8A7E7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4888805" y="1376200"/>
            <a:ext cx="22375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P celkem</a:t>
            </a:r>
          </a:p>
        </p:txBody>
      </p:sp>
      <p:graphicFrame>
        <p:nvGraphicFramePr>
          <p:cNvPr id="14" name="Tabulka 6">
            <a:extLst>
              <a:ext uri="{FF2B5EF4-FFF2-40B4-BE49-F238E27FC236}">
                <a16:creationId xmlns:a16="http://schemas.microsoft.com/office/drawing/2014/main" id="{2437943F-BD8E-4C02-97C2-1582C83DCB1C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8846924" y="1020334"/>
          <a:ext cx="2954284" cy="13817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954284">
                  <a:extLst>
                    <a:ext uri="{9D8B030D-6E8A-4147-A177-3AD203B41FA5}">
                      <a16:colId xmlns:a16="http://schemas.microsoft.com/office/drawing/2014/main" val="11414929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cs-CZ" b="1" dirty="0"/>
                        <a:t>7 denní průmě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353914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cs-CZ" dirty="0"/>
                        <a:t>Bez očkování nebo nedokončené očkování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871676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cs-CZ" dirty="0"/>
                        <a:t>Ukončené očkování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07000598"/>
                  </a:ext>
                </a:extLst>
              </a:tr>
            </a:tbl>
          </a:graphicData>
        </a:graphic>
      </p:graphicFrame>
      <p:pic>
        <p:nvPicPr>
          <p:cNvPr id="7" name="Obrázek 6">
            <a:extLst>
              <a:ext uri="{FF2B5EF4-FFF2-40B4-BE49-F238E27FC236}">
                <a16:creationId xmlns:a16="http://schemas.microsoft.com/office/drawing/2014/main" id="{1F87F473-CBAF-415A-B69A-D06AAEB5FEDE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10000" b="90000" l="10000" r="90000">
                        <a14:foregroundMark x1="27451" y1="71591" x2="77451" y2="72727"/>
                        <a14:foregroundMark x1="59804" y1="71591" x2="59804" y2="71591"/>
                        <a14:foregroundMark x1="69608" y1="72727" x2="69608" y2="72727"/>
                        <a14:foregroundMark x1="28431" y1="29545" x2="28431" y2="29545"/>
                        <a14:foregroundMark x1="49329" y1="29545" x2="78431" y2="29545"/>
                        <a14:foregroundMark x1="29412" y1="29545" x2="30970" y2="29545"/>
                        <a14:foregroundMark x1="78431" y1="29545" x2="79412" y2="29545"/>
                        <a14:foregroundMark x1="79412" y1="31818" x2="79412" y2="31818"/>
                        <a14:foregroundMark x1="80392" y1="30682" x2="77451" y2="30682"/>
                        <a14:foregroundMark x1="24510" y1="29545" x2="29412" y2="30682"/>
                        <a14:foregroundMark x1="24510" y1="30682" x2="29412" y2="30682"/>
                        <a14:foregroundMark x1="48214" y1="31818" x2="77451" y2="31818"/>
                        <a14:foregroundMark x1="34314" y1="28409" x2="49020" y2="29545"/>
                        <a14:foregroundMark x1="32353" y1="31818" x2="78431" y2="31818"/>
                        <a14:foregroundMark x1="77451" y1="32955" x2="77451" y2="32955"/>
                        <a14:foregroundMark x1="78431" y1="32955" x2="78431" y2="32955"/>
                        <a14:foregroundMark x1="77451" y1="32955" x2="77451" y2="32955"/>
                        <a14:foregroundMark x1="78431" y1="32955" x2="76471" y2="31818"/>
                        <a14:backgroundMark x1="30392" y1="13636" x2="33872" y2="13636"/>
                        <a14:backgroundMark x1="34314" y1="22727" x2="37765" y2="21965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rot="10800000" flipV="1">
            <a:off x="8112043" y="1418957"/>
            <a:ext cx="917518" cy="1089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477340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zdravotničtí pracovníci </a:t>
            </a:r>
            <a:r>
              <a:rPr lang="cs-CZ" u="sng" dirty="0"/>
              <a:t>celkem</a:t>
            </a:r>
          </a:p>
        </p:txBody>
      </p:sp>
      <p:graphicFrame>
        <p:nvGraphicFramePr>
          <p:cNvPr id="3" name="Tabulka 2">
            <a:extLst>
              <a:ext uri="{FF2B5EF4-FFF2-40B4-BE49-F238E27FC236}">
                <a16:creationId xmlns:a16="http://schemas.microsoft.com/office/drawing/2014/main" id="{0C428FC5-EA14-48AE-B731-D5EA9FEB981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36027456"/>
              </p:ext>
            </p:extLst>
          </p:nvPr>
        </p:nvGraphicFramePr>
        <p:xfrm>
          <a:off x="356585" y="1390934"/>
          <a:ext cx="11149615" cy="4296106"/>
        </p:xfrm>
        <a:graphic>
          <a:graphicData uri="http://schemas.openxmlformats.org/drawingml/2006/table">
            <a:tbl>
              <a:tblPr firstRow="1" lastRow="1" bandRow="1">
                <a:tableStyleId>{5C22544A-7EE6-4342-B048-85BDC9FD1C3A}</a:tableStyleId>
              </a:tblPr>
              <a:tblGrid>
                <a:gridCol w="4823702">
                  <a:extLst>
                    <a:ext uri="{9D8B030D-6E8A-4147-A177-3AD203B41FA5}">
                      <a16:colId xmlns:a16="http://schemas.microsoft.com/office/drawing/2014/main" val="2651665098"/>
                    </a:ext>
                  </a:extLst>
                </a:gridCol>
                <a:gridCol w="2338725">
                  <a:extLst>
                    <a:ext uri="{9D8B030D-6E8A-4147-A177-3AD203B41FA5}">
                      <a16:colId xmlns:a16="http://schemas.microsoft.com/office/drawing/2014/main" val="3939455336"/>
                    </a:ext>
                  </a:extLst>
                </a:gridCol>
                <a:gridCol w="1993594">
                  <a:extLst>
                    <a:ext uri="{9D8B030D-6E8A-4147-A177-3AD203B41FA5}">
                      <a16:colId xmlns:a16="http://schemas.microsoft.com/office/drawing/2014/main" val="2226907532"/>
                    </a:ext>
                  </a:extLst>
                </a:gridCol>
                <a:gridCol w="1993594">
                  <a:extLst>
                    <a:ext uri="{9D8B030D-6E8A-4147-A177-3AD203B41FA5}">
                      <a16:colId xmlns:a16="http://schemas.microsoft.com/office/drawing/2014/main" val="2183727549"/>
                    </a:ext>
                  </a:extLst>
                </a:gridCol>
              </a:tblGrid>
              <a:tr h="992626">
                <a:tc>
                  <a:txBody>
                    <a:bodyPr/>
                    <a:lstStyle/>
                    <a:p>
                      <a:pPr algn="l" fontAlgn="ctr"/>
                      <a:r>
                        <a:rPr lang="cs-CZ" dirty="0"/>
                        <a:t>Zdravotničtí pracovníci </a:t>
                      </a:r>
                    </a:p>
                    <a:p>
                      <a:pPr algn="l" fontAlgn="ctr"/>
                      <a:r>
                        <a:rPr lang="cs-CZ" dirty="0"/>
                        <a:t>evidovaní v NZIS*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 dirty="0">
                          <a:effectLst/>
                        </a:rPr>
                        <a:t>Celkový počet zdravotnických pracovníků**</a:t>
                      </a:r>
                      <a:endParaRPr lang="cs-CZ" sz="18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u="none" strike="noStrike" dirty="0">
                          <a:effectLst/>
                        </a:rPr>
                        <a:t>Počet očkovaných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u="none" strike="noStrike">
                          <a:effectLst/>
                        </a:rPr>
                        <a:t>Podíl očkovaných</a:t>
                      </a:r>
                      <a:endParaRPr lang="cs-CZ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3304470326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Lékaři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včetně zubních lékařů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 79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 24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,6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1230907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Sestry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§ 5 Všeobecná sestra, § 5a Dětská sestra,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§ 6 Porodní asistentka, § 21b Praktická sestra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8 52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9 35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,4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12447989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Ostatní zdravotničtí pracovníci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NLZP § 7 až § 42 kromě § 21b, farmaceuti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9 3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6 13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,2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18325100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u="none" strike="noStrike" dirty="0">
                          <a:effectLst/>
                        </a:rPr>
                        <a:t>CELKEM</a:t>
                      </a:r>
                      <a:endParaRPr lang="cs-CZ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365 63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82 72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77,3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34177443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0D1107EB-D187-4678-AF28-2A18CAE50957}"/>
              </a:ext>
            </a:extLst>
          </p:cNvPr>
          <p:cNvSpPr txBox="1"/>
          <p:nvPr/>
        </p:nvSpPr>
        <p:spPr>
          <a:xfrm>
            <a:off x="6096000" y="125783"/>
            <a:ext cx="20097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25. 12. 2021</a:t>
            </a:r>
          </a:p>
        </p:txBody>
      </p:sp>
      <p:sp>
        <p:nvSpPr>
          <p:cNvPr id="8" name="Obdélník 7">
            <a:extLst>
              <a:ext uri="{FF2B5EF4-FFF2-40B4-BE49-F238E27FC236}">
                <a16:creationId xmlns:a16="http://schemas.microsoft.com/office/drawing/2014/main" id="{C6F37292-6D98-4BA4-B894-BD354102F974}"/>
              </a:ext>
            </a:extLst>
          </p:cNvPr>
          <p:cNvSpPr/>
          <p:nvPr/>
        </p:nvSpPr>
        <p:spPr>
          <a:xfrm>
            <a:off x="330707" y="5686170"/>
            <a:ext cx="11454102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  <a:p>
            <a:pPr lvl="0"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* Počet zdravotnických pracovníků </a:t>
            </a:r>
            <a:r>
              <a:rPr lang="cs-CZ" sz="1100" dirty="0">
                <a:solidFill>
                  <a:srgbClr val="000000"/>
                </a:solidFill>
              </a:rPr>
              <a:t>evidovaných v NZIS (Národní registr zdravotnických pracovníků – NRZP)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</a:t>
            </a:r>
          </a:p>
        </p:txBody>
      </p:sp>
      <p:sp>
        <p:nvSpPr>
          <p:cNvPr id="4" name="TextovéPole 3"/>
          <p:cNvSpPr txBox="1"/>
          <p:nvPr/>
        </p:nvSpPr>
        <p:spPr>
          <a:xfrm>
            <a:off x="255987" y="618549"/>
            <a:ext cx="1169788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Počet zdravotnických pracovníků (ZP) dle hlášení povinných subjektů do NRZP** (vzdělávací instituce, poskytovatelé). Celkový počet ZP zahrnuje osoby s odpovídající odbornou způsobilostí pro výkony ZP* a žijící k danému datu. Tabulka tedy nereflektuje, zda daný ZP skutečně vykonává zdravotnické povolání v ČR. Zahrnuti jsou i ZP v seniorním, důchodovém, věku. 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60C7B47A-DD4D-4AD1-9492-34EAE5D35895}"/>
              </a:ext>
            </a:extLst>
          </p:cNvPr>
          <p:cNvSpPr/>
          <p:nvPr/>
        </p:nvSpPr>
        <p:spPr>
          <a:xfrm>
            <a:off x="1733551" y="6575571"/>
            <a:ext cx="828039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</p:spTree>
    <p:extLst>
      <p:ext uri="{BB962C8B-B14F-4D97-AF65-F5344CB8AC3E}">
        <p14:creationId xmlns:p14="http://schemas.microsoft.com/office/powerpoint/2010/main" val="369900478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05115" y="38814"/>
            <a:ext cx="11614422" cy="13234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ranný efekt plně dokončeného očkování: redukce počtu nákaz – ZP celkem 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B44D7D87-2729-4F55-B1A0-2AB28A82B3CA}"/>
              </a:ext>
            </a:extLst>
          </p:cNvPr>
          <p:cNvSpPr txBox="1"/>
          <p:nvPr/>
        </p:nvSpPr>
        <p:spPr>
          <a:xfrm>
            <a:off x="3535052" y="771128"/>
            <a:ext cx="40547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ě pozitivní na 100 tis. ZP celkem</a:t>
            </a: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D473318D-4099-4B9B-AF32-91E153367DA0}"/>
              </a:ext>
            </a:extLst>
          </p:cNvPr>
          <p:cNvSpPr txBox="1"/>
          <p:nvPr/>
        </p:nvSpPr>
        <p:spPr>
          <a:xfrm>
            <a:off x="205115" y="6389511"/>
            <a:ext cx="118800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 Letní období je spojeno z důvodu nízkého počtu případů v jednotlivých měsících; ** Dokončené očkování: více než 14 dní po 2. dávce dvou dávkové vakcíny nebo více než 14 dní po jedno dávkové vakcinaci: relativní snížení výskytu nákaz je vztaženo ke kohortě neočkovaných nebo osob s nedokončeným očkováním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0" name="Table 5">
            <a:extLst>
              <a:ext uri="{FF2B5EF4-FFF2-40B4-BE49-F238E27FC236}">
                <a16:creationId xmlns:a16="http://schemas.microsoft.com/office/drawing/2014/main" id="{A65F9ACD-3961-458D-951B-62BFB867A8BA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8955398"/>
              </p:ext>
            </p:extLst>
          </p:nvPr>
        </p:nvGraphicFramePr>
        <p:xfrm>
          <a:off x="1666394" y="550035"/>
          <a:ext cx="9468550" cy="4377040"/>
        </p:xfrm>
        <a:graphic>
          <a:graphicData uri="http://schemas.openxmlformats.org/drawingml/2006/table">
            <a:tbl>
              <a:tblPr/>
              <a:tblGrid>
                <a:gridCol w="1814911">
                  <a:extLst>
                    <a:ext uri="{9D8B030D-6E8A-4147-A177-3AD203B41FA5}">
                      <a16:colId xmlns:a16="http://schemas.microsoft.com/office/drawing/2014/main" val="1012450698"/>
                    </a:ext>
                  </a:extLst>
                </a:gridCol>
                <a:gridCol w="2238431">
                  <a:extLst>
                    <a:ext uri="{9D8B030D-6E8A-4147-A177-3AD203B41FA5}">
                      <a16:colId xmlns:a16="http://schemas.microsoft.com/office/drawing/2014/main" val="2962437353"/>
                    </a:ext>
                  </a:extLst>
                </a:gridCol>
                <a:gridCol w="2238871">
                  <a:extLst>
                    <a:ext uri="{9D8B030D-6E8A-4147-A177-3AD203B41FA5}">
                      <a16:colId xmlns:a16="http://schemas.microsoft.com/office/drawing/2014/main" val="2908102936"/>
                    </a:ext>
                  </a:extLst>
                </a:gridCol>
                <a:gridCol w="3176337">
                  <a:extLst>
                    <a:ext uri="{9D8B030D-6E8A-4147-A177-3AD203B41FA5}">
                      <a16:colId xmlns:a16="http://schemas.microsoft.com/office/drawing/2014/main" val="1508245454"/>
                    </a:ext>
                  </a:extLst>
                </a:gridCol>
              </a:tblGrid>
              <a:tr h="394426">
                <a:tc>
                  <a:txBody>
                    <a:bodyPr/>
                    <a:lstStyle/>
                    <a:p>
                      <a:pPr algn="ctr" fontAlgn="b"/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2000" b="1" i="0" u="none" strike="noStrike" dirty="0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        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cs-CZ" sz="2000" b="1" i="0" u="none" strike="noStrike" dirty="0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16511605"/>
                  </a:ext>
                </a:extLst>
              </a:tr>
              <a:tr h="827206">
                <a:tc>
                  <a:txBody>
                    <a:bodyPr/>
                    <a:lstStyle/>
                    <a:p>
                      <a:pPr algn="l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ěsíc </a:t>
                      </a:r>
                    </a:p>
                    <a:p>
                      <a:pPr algn="l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ku 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očkovaní a bez do</a:t>
                      </a:r>
                      <a:r>
                        <a:rPr lang="en-US" sz="1800" b="1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on</a:t>
                      </a:r>
                      <a:r>
                        <a:rPr lang="cs-CZ" sz="1800" b="1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čeného</a:t>
                      </a:r>
                      <a:r>
                        <a:rPr lang="cs-CZ" sz="18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očková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 </a:t>
                      </a:r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</a:t>
                      </a:r>
                      <a:r>
                        <a:rPr lang="en-US" sz="1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on</a:t>
                      </a:r>
                      <a:r>
                        <a:rPr lang="cs-CZ" sz="1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ném</a:t>
                      </a:r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čková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Redukce nákaz **</a:t>
                      </a:r>
                    </a:p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o dokončeném</a:t>
                      </a:r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očková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1661197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řez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66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6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8.5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801451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ub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1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6.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9691934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2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0.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8290151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-Srp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2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73.2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4143900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7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69.9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454973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47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0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66.4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4899942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stopad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49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91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63.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0465014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sinec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68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71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65.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0935764"/>
                  </a:ext>
                </a:extLst>
              </a:tr>
            </a:tbl>
          </a:graphicData>
        </a:graphic>
      </p:graphicFrame>
      <p:sp>
        <p:nvSpPr>
          <p:cNvPr id="12" name="TextBox 6">
            <a:extLst>
              <a:ext uri="{FF2B5EF4-FFF2-40B4-BE49-F238E27FC236}">
                <a16:creationId xmlns:a16="http://schemas.microsoft.com/office/drawing/2014/main" id="{E62E2B61-6665-4653-AF65-AA7DB242ABA7}"/>
              </a:ext>
            </a:extLst>
          </p:cNvPr>
          <p:cNvSpPr txBox="1"/>
          <p:nvPr/>
        </p:nvSpPr>
        <p:spPr>
          <a:xfrm>
            <a:off x="1666394" y="4856579"/>
            <a:ext cx="20186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v k 27. 12. 2021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007B7F61-2FDD-429A-A54E-2F0F9482D1BE}"/>
              </a:ext>
            </a:extLst>
          </p:cNvPr>
          <p:cNvSpPr txBox="1"/>
          <p:nvPr/>
        </p:nvSpPr>
        <p:spPr>
          <a:xfrm>
            <a:off x="262533" y="5010468"/>
            <a:ext cx="1176521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ranný efekt vakcinace proti nákaze v čase klesá. Populace zdravotnických pracovníků je v tomto ohledu velmi důležitý model – jednak byli očkování mezi prvními na počátku 2021 a jednak jde o profesní skupinu primárně vystavenou riziku nákazy. Zásadním faktem ovšem je, že ochranný efekt vakcinace proti těžkému průběhu nemoci trvá i v této profesní kategorii. V současnosti registrujeme pouze jednotky ZP s těžším průběhem nemoci po očkování. 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05253472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1"/>
          <p:cNvSpPr txBox="1">
            <a:spLocks/>
          </p:cNvSpPr>
          <p:nvPr/>
        </p:nvSpPr>
        <p:spPr>
          <a:xfrm>
            <a:off x="0" y="3900347"/>
            <a:ext cx="12192000" cy="1973980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 lnSpcReduction="2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Příloha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4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Nákazy pracovníků sociálních služeb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(přímé hlášení od poskytovatelů)</a:t>
            </a:r>
          </a:p>
        </p:txBody>
      </p:sp>
      <p:sp>
        <p:nvSpPr>
          <p:cNvPr id="5" name="Nadpis 1"/>
          <p:cNvSpPr txBox="1">
            <a:spLocks/>
          </p:cNvSpPr>
          <p:nvPr/>
        </p:nvSpPr>
        <p:spPr>
          <a:xfrm>
            <a:off x="73152" y="1801368"/>
            <a:ext cx="12192000" cy="169057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tav a vývoj epidemie COVID-19 </a:t>
            </a:r>
            <a:b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v dostupných datech</a:t>
            </a:r>
          </a:p>
        </p:txBody>
      </p:sp>
    </p:spTree>
    <p:extLst>
      <p:ext uri="{BB962C8B-B14F-4D97-AF65-F5344CB8AC3E}">
        <p14:creationId xmlns:p14="http://schemas.microsoft.com/office/powerpoint/2010/main" val="315382671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ovéPole 8">
            <a:extLst>
              <a:ext uri="{FF2B5EF4-FFF2-40B4-BE49-F238E27FC236}">
                <a16:creationId xmlns:a16="http://schemas.microsoft.com/office/drawing/2014/main" id="{647DDAC2-3C77-4F03-9BD2-24C7C1216857}"/>
              </a:ext>
            </a:extLst>
          </p:cNvPr>
          <p:cNvSpPr txBox="1"/>
          <p:nvPr/>
        </p:nvSpPr>
        <p:spPr>
          <a:xfrm>
            <a:off x="2990850" y="6567385"/>
            <a:ext cx="63627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100" dirty="0">
                <a:latin typeface="Calibri" panose="020F0502020204030204" pitchFamily="34" charset="0"/>
                <a:cs typeface="Calibri" panose="020F0502020204030204" pitchFamily="34" charset="0"/>
              </a:rPr>
              <a:t>Zdroj: ISIN – Informační systém infekční nemocí, modul sociálních služeb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9FAB93A6-2228-45F5-872E-1F511F38CC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010" y="2"/>
            <a:ext cx="7864952" cy="576000"/>
          </a:xfrm>
        </p:spPr>
        <p:txBody>
          <a:bodyPr/>
          <a:lstStyle/>
          <a:p>
            <a:r>
              <a:rPr lang="cs-CZ" dirty="0"/>
              <a:t>Počty nově COVID-19 pozitivních pracovníků </a:t>
            </a:r>
            <a:br>
              <a:rPr lang="cs-CZ" dirty="0"/>
            </a:br>
            <a:r>
              <a:rPr lang="cs-CZ" dirty="0"/>
              <a:t>v zařízeních sociálních služeb</a:t>
            </a:r>
          </a:p>
        </p:txBody>
      </p:sp>
      <p:graphicFrame>
        <p:nvGraphicFramePr>
          <p:cNvPr id="7" name="Chart 31">
            <a:extLst>
              <a:ext uri="{FF2B5EF4-FFF2-40B4-BE49-F238E27FC236}">
                <a16:creationId xmlns:a16="http://schemas.microsoft.com/office/drawing/2014/main" id="{1A0DC1DF-8CED-49FC-A4A5-065F1A64BD52}"/>
              </a:ext>
            </a:extLst>
          </p:cNvPr>
          <p:cNvGraphicFramePr/>
          <p:nvPr/>
        </p:nvGraphicFramePr>
        <p:xfrm>
          <a:off x="407350" y="1059679"/>
          <a:ext cx="8523006" cy="54866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TextBox 2">
            <a:extLst>
              <a:ext uri="{FF2B5EF4-FFF2-40B4-BE49-F238E27FC236}">
                <a16:creationId xmlns:a16="http://schemas.microsoft.com/office/drawing/2014/main" id="{FDDA473E-2198-4E37-8DAB-7936176EB801}"/>
              </a:ext>
            </a:extLst>
          </p:cNvPr>
          <p:cNvSpPr txBox="1"/>
          <p:nvPr/>
        </p:nvSpPr>
        <p:spPr>
          <a:xfrm rot="16200000">
            <a:off x="-941446" y="3165866"/>
            <a:ext cx="25875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b="1" dirty="0"/>
              <a:t>Denní počet nových případů</a:t>
            </a: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B270C58A-BB49-4257-8406-1CEB47E406EE}"/>
              </a:ext>
            </a:extLst>
          </p:cNvPr>
          <p:cNvGraphicFramePr>
            <a:graphicFrameLocks noGrp="1"/>
          </p:cNvGraphicFramePr>
          <p:nvPr/>
        </p:nvGraphicFramePr>
        <p:xfrm>
          <a:off x="9060412" y="1207371"/>
          <a:ext cx="2763052" cy="5050096"/>
        </p:xfrm>
        <a:graphic>
          <a:graphicData uri="http://schemas.openxmlformats.org/drawingml/2006/table">
            <a:tbl>
              <a:tblPr/>
              <a:tblGrid>
                <a:gridCol w="1675629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1087423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</a:tblGrid>
              <a:tr h="520379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a posledních </a:t>
                      </a:r>
                    </a:p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7 dní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1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7 denní klouzavý průměr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13011470"/>
                  </a:ext>
                </a:extLst>
              </a:tr>
            </a:tbl>
          </a:graphicData>
        </a:graphic>
      </p:graphicFrame>
      <p:sp>
        <p:nvSpPr>
          <p:cNvPr id="9" name="Obdélník 4">
            <a:extLst>
              <a:ext uri="{FF2B5EF4-FFF2-40B4-BE49-F238E27FC236}">
                <a16:creationId xmlns:a16="http://schemas.microsoft.com/office/drawing/2014/main" id="{81867BFA-1453-40BE-A29B-836824A9B5EE}"/>
              </a:ext>
            </a:extLst>
          </p:cNvPr>
          <p:cNvSpPr/>
          <p:nvPr/>
        </p:nvSpPr>
        <p:spPr>
          <a:xfrm>
            <a:off x="609693" y="647811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ctr"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nových COVID-19 pozitivních (incidence), </a:t>
            </a:r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stav k 25. 12. 2021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cxnSp>
        <p:nvCxnSpPr>
          <p:cNvPr id="11" name="Straight Connector 4">
            <a:extLst>
              <a:ext uri="{FF2B5EF4-FFF2-40B4-BE49-F238E27FC236}">
                <a16:creationId xmlns:a16="http://schemas.microsoft.com/office/drawing/2014/main" id="{FC15B3FD-8931-45F3-B9FA-489831BF4CD0}"/>
              </a:ext>
            </a:extLst>
          </p:cNvPr>
          <p:cNvCxnSpPr/>
          <p:nvPr/>
        </p:nvCxnSpPr>
        <p:spPr>
          <a:xfrm>
            <a:off x="1075769" y="1393737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5">
            <a:extLst>
              <a:ext uri="{FF2B5EF4-FFF2-40B4-BE49-F238E27FC236}">
                <a16:creationId xmlns:a16="http://schemas.microsoft.com/office/drawing/2014/main" id="{98F82CC0-F179-44D1-AED9-4C8CAA8FCD8F}"/>
              </a:ext>
            </a:extLst>
          </p:cNvPr>
          <p:cNvSpPr txBox="1"/>
          <p:nvPr/>
        </p:nvSpPr>
        <p:spPr>
          <a:xfrm>
            <a:off x="1438027" y="1224463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b="1" dirty="0"/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2218887678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7802892" cy="576000"/>
          </a:xfrm>
        </p:spPr>
        <p:txBody>
          <a:bodyPr/>
          <a:lstStyle/>
          <a:p>
            <a:r>
              <a:rPr lang="cs-CZ" dirty="0"/>
              <a:t>Počty COVID-19 pozitivních na 100 000 osob v populaci pracovníků v sociálních službách</a:t>
            </a:r>
            <a:r>
              <a:rPr lang="en-US" dirty="0"/>
              <a:t>*</a:t>
            </a:r>
            <a:endParaRPr lang="cs-CZ" dirty="0"/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/>
        </p:nvSpPr>
        <p:spPr>
          <a:xfrm>
            <a:off x="58189" y="1856023"/>
            <a:ext cx="1438102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 v populaci pracovníků v sociálních službách (suma za hodnocený časový úsek)</a:t>
            </a: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98FA2216-F217-4BAB-A9D1-49D7EE7FFB73}"/>
              </a:ext>
            </a:extLst>
          </p:cNvPr>
          <p:cNvSpPr txBox="1"/>
          <p:nvPr/>
        </p:nvSpPr>
        <p:spPr>
          <a:xfrm>
            <a:off x="1496291" y="6211667"/>
            <a:ext cx="105730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acovníci v zařízeních, které zadávají informace do sociálního modulu ISIN, což odpovídá asi 82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 v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š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ch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acovn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í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ů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oci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á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n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í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h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lu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ž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á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h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</a:p>
        </p:txBody>
      </p:sp>
      <p:graphicFrame>
        <p:nvGraphicFramePr>
          <p:cNvPr id="6" name="Graf 5">
            <a:extLst>
              <a:ext uri="{FF2B5EF4-FFF2-40B4-BE49-F238E27FC236}">
                <a16:creationId xmlns:a16="http://schemas.microsoft.com/office/drawing/2014/main" id="{55608988-FFDF-4500-A7BA-71BB7DDEE999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54187476"/>
              </p:ext>
            </p:extLst>
          </p:nvPr>
        </p:nvGraphicFramePr>
        <p:xfrm>
          <a:off x="1330189" y="1037794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34522961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</a:t>
            </a:r>
            <a:r>
              <a:rPr lang="cs-CZ" u="sng" dirty="0"/>
              <a:t>aktivní</a:t>
            </a:r>
            <a:r>
              <a:rPr lang="cs-CZ" dirty="0"/>
              <a:t> zdravotničtí pracovníci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B5F8F24A-407C-46C2-BF8F-7094A798CF34}"/>
              </a:ext>
            </a:extLst>
          </p:cNvPr>
          <p:cNvSpPr/>
          <p:nvPr/>
        </p:nvSpPr>
        <p:spPr>
          <a:xfrm>
            <a:off x="331021" y="5689889"/>
            <a:ext cx="11454102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  <a:p>
            <a:pPr>
              <a:defRPr/>
            </a:pPr>
            <a:r>
              <a:rPr lang="cs-CZ" sz="1100" dirty="0">
                <a:solidFill>
                  <a:srgbClr val="000000"/>
                </a:solidFill>
              </a:rPr>
              <a:t>** Počet zdravotnických pracovníků nahlášených do NZIS (Národní registr zdravotnických pracovníků – NRZP) poskytovateli zdravotních služeb jako aktivní v období od 1.9.2021 do současnosti.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309541" y="621246"/>
            <a:ext cx="1156130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Počet zdravotnických pracovníků (ZP) dle hlášení povinných subjektů do NRZP** (vzdělávací instituce, poskytovatelé). Celkový počet ZP zahrnuje osoby s odpovídající odbornou způsobilostí pro výkony ZP* a žijící k danému datu. V této analýze jsou zahrnuti ZP, u kterých poskytovatelé zdravotních služeb nahlásili jejich aktivní výkon zaměstnání (v ambulantním sektoru mohou být tyto počty mírně nedohlášené). </a:t>
            </a:r>
          </a:p>
        </p:txBody>
      </p:sp>
      <p:sp>
        <p:nvSpPr>
          <p:cNvPr id="12" name="TextBox 6">
            <a:extLst>
              <a:ext uri="{FF2B5EF4-FFF2-40B4-BE49-F238E27FC236}">
                <a16:creationId xmlns:a16="http://schemas.microsoft.com/office/drawing/2014/main" id="{7A968ED8-B7A5-4B68-AF27-DAE3E4FFEDCD}"/>
              </a:ext>
            </a:extLst>
          </p:cNvPr>
          <p:cNvSpPr txBox="1"/>
          <p:nvPr/>
        </p:nvSpPr>
        <p:spPr>
          <a:xfrm>
            <a:off x="6096000" y="125783"/>
            <a:ext cx="20097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600" b="1" dirty="0">
                <a:solidFill>
                  <a:srgbClr val="FFFFFF"/>
                </a:solidFill>
              </a:rPr>
              <a:t>Stav k 25. 12. 2021</a:t>
            </a:r>
          </a:p>
        </p:txBody>
      </p:sp>
      <p:graphicFrame>
        <p:nvGraphicFramePr>
          <p:cNvPr id="13" name="Tabulka 12">
            <a:extLst>
              <a:ext uri="{FF2B5EF4-FFF2-40B4-BE49-F238E27FC236}">
                <a16:creationId xmlns:a16="http://schemas.microsoft.com/office/drawing/2014/main" id="{9EBA9451-7A3F-4EF9-93DD-7094F620D3D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48755274"/>
              </p:ext>
            </p:extLst>
          </p:nvPr>
        </p:nvGraphicFramePr>
        <p:xfrm>
          <a:off x="356585" y="1390934"/>
          <a:ext cx="11273439" cy="4296106"/>
        </p:xfrm>
        <a:graphic>
          <a:graphicData uri="http://schemas.openxmlformats.org/drawingml/2006/table">
            <a:tbl>
              <a:tblPr firstRow="1" lastRow="1" bandRow="1">
                <a:tableStyleId>{5C22544A-7EE6-4342-B048-85BDC9FD1C3A}</a:tableStyleId>
              </a:tblPr>
              <a:tblGrid>
                <a:gridCol w="4877273">
                  <a:extLst>
                    <a:ext uri="{9D8B030D-6E8A-4147-A177-3AD203B41FA5}">
                      <a16:colId xmlns:a16="http://schemas.microsoft.com/office/drawing/2014/main" val="2651665098"/>
                    </a:ext>
                  </a:extLst>
                </a:gridCol>
                <a:gridCol w="2364698">
                  <a:extLst>
                    <a:ext uri="{9D8B030D-6E8A-4147-A177-3AD203B41FA5}">
                      <a16:colId xmlns:a16="http://schemas.microsoft.com/office/drawing/2014/main" val="3939455336"/>
                    </a:ext>
                  </a:extLst>
                </a:gridCol>
                <a:gridCol w="2015734">
                  <a:extLst>
                    <a:ext uri="{9D8B030D-6E8A-4147-A177-3AD203B41FA5}">
                      <a16:colId xmlns:a16="http://schemas.microsoft.com/office/drawing/2014/main" val="2226907532"/>
                    </a:ext>
                  </a:extLst>
                </a:gridCol>
                <a:gridCol w="2015734">
                  <a:extLst>
                    <a:ext uri="{9D8B030D-6E8A-4147-A177-3AD203B41FA5}">
                      <a16:colId xmlns:a16="http://schemas.microsoft.com/office/drawing/2014/main" val="2183727549"/>
                    </a:ext>
                  </a:extLst>
                </a:gridCol>
              </a:tblGrid>
              <a:tr h="992626">
                <a:tc>
                  <a:txBody>
                    <a:bodyPr/>
                    <a:lstStyle/>
                    <a:p>
                      <a:pPr algn="l" fontAlgn="ctr"/>
                      <a:r>
                        <a:rPr lang="cs-CZ" dirty="0"/>
                        <a:t>Zdravotničtí pracovníci </a:t>
                      </a:r>
                    </a:p>
                    <a:p>
                      <a:pPr algn="l" fontAlgn="ctr"/>
                      <a:r>
                        <a:rPr lang="cs-CZ" dirty="0"/>
                        <a:t>evidovaní v NZIS*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 dirty="0">
                          <a:effectLst/>
                        </a:rPr>
                        <a:t>Počet aktivních zdravotnických pracovníků**</a:t>
                      </a:r>
                      <a:endParaRPr lang="cs-CZ" sz="18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u="none" strike="noStrike" dirty="0">
                          <a:effectLst/>
                        </a:rPr>
                        <a:t>Počet očkovaných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u="none" strike="noStrike">
                          <a:effectLst/>
                        </a:rPr>
                        <a:t>Podíl očkovaných</a:t>
                      </a:r>
                      <a:endParaRPr lang="cs-CZ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3304470326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Lékaři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včetně zubních lékařů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 29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 98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,9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1230907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Sestry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§ 5 Všeobecná sestra, § 5a Dětská sestra,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§ 6 Porodní asistentka, § 21b Praktická sestra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5 29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 61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,2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12447989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Ostatní zdravotničtí pracovníci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NLZP § 7 až § 42 kromě § 21b, farmaceuti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2 48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 50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,6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18325100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u="none" strike="noStrike" dirty="0">
                          <a:effectLst/>
                        </a:rPr>
                        <a:t>CELKEM</a:t>
                      </a:r>
                      <a:endParaRPr lang="cs-CZ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50 07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08 10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83,2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34177443"/>
                  </a:ext>
                </a:extLst>
              </a:tr>
            </a:tbl>
          </a:graphicData>
        </a:graphic>
      </p:graphicFrame>
      <p:sp>
        <p:nvSpPr>
          <p:cNvPr id="14" name="Obdélník 13">
            <a:extLst>
              <a:ext uri="{FF2B5EF4-FFF2-40B4-BE49-F238E27FC236}">
                <a16:creationId xmlns:a16="http://schemas.microsoft.com/office/drawing/2014/main" id="{F04ED3AE-021E-41E6-820F-16896A92FE56}"/>
              </a:ext>
            </a:extLst>
          </p:cNvPr>
          <p:cNvSpPr/>
          <p:nvPr/>
        </p:nvSpPr>
        <p:spPr>
          <a:xfrm>
            <a:off x="1733551" y="6575571"/>
            <a:ext cx="828039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</p:spTree>
    <p:extLst>
      <p:ext uri="{BB962C8B-B14F-4D97-AF65-F5344CB8AC3E}">
        <p14:creationId xmlns:p14="http://schemas.microsoft.com/office/powerpoint/2010/main" val="207823012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sz="1800" dirty="0"/>
              <a:t>Očkování zdravotnických pracovníků – počty očkovaných v čase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35D0792-DA3D-4697-90DD-E7E191A14A9B}"/>
              </a:ext>
            </a:extLst>
          </p:cNvPr>
          <p:cNvSpPr txBox="1"/>
          <p:nvPr/>
        </p:nvSpPr>
        <p:spPr>
          <a:xfrm rot="16200000">
            <a:off x="-2049215" y="2820163"/>
            <a:ext cx="46818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umulativní počet očkovaných (alespoň první dávka)</a:t>
            </a:r>
          </a:p>
        </p:txBody>
      </p:sp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FDFE61B8-F449-4A66-9A16-364371C6A084}"/>
              </a:ext>
            </a:extLst>
          </p:cNvPr>
          <p:cNvGraphicFramePr/>
          <p:nvPr/>
        </p:nvGraphicFramePr>
        <p:xfrm>
          <a:off x="561974" y="759913"/>
          <a:ext cx="11377929" cy="49881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1" name="Tabulka 10">
            <a:extLst>
              <a:ext uri="{FF2B5EF4-FFF2-40B4-BE49-F238E27FC236}">
                <a16:creationId xmlns:a16="http://schemas.microsoft.com/office/drawing/2014/main" id="{35619201-FB04-4641-AC77-14154175A615}"/>
              </a:ext>
            </a:extLst>
          </p:cNvPr>
          <p:cNvGraphicFramePr>
            <a:graphicFrameLocks noGrp="1"/>
          </p:cNvGraphicFramePr>
          <p:nvPr/>
        </p:nvGraphicFramePr>
        <p:xfrm>
          <a:off x="10344150" y="2181222"/>
          <a:ext cx="1595753" cy="2352680"/>
        </p:xfrm>
        <a:graphic>
          <a:graphicData uri="http://schemas.openxmlformats.org/drawingml/2006/table">
            <a:tbl>
              <a:tblPr/>
              <a:tblGrid>
                <a:gridCol w="994535">
                  <a:extLst>
                    <a:ext uri="{9D8B030D-6E8A-4147-A177-3AD203B41FA5}">
                      <a16:colId xmlns:a16="http://schemas.microsoft.com/office/drawing/2014/main" val="2493138386"/>
                    </a:ext>
                  </a:extLst>
                </a:gridCol>
                <a:gridCol w="601218">
                  <a:extLst>
                    <a:ext uri="{9D8B030D-6E8A-4147-A177-3AD203B41FA5}">
                      <a16:colId xmlns:a16="http://schemas.microsoft.com/office/drawing/2014/main" val="477226283"/>
                    </a:ext>
                  </a:extLst>
                </a:gridCol>
              </a:tblGrid>
              <a:tr h="5881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P celkem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2 7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1664348"/>
                  </a:ext>
                </a:extLst>
              </a:tr>
              <a:tr h="5881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estry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9 3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0816711"/>
                  </a:ext>
                </a:extLst>
              </a:tr>
              <a:tr h="5881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statní ZP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6 1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1517692"/>
                  </a:ext>
                </a:extLst>
              </a:tr>
              <a:tr h="5881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ékaři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 24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161812"/>
                  </a:ext>
                </a:extLst>
              </a:tr>
            </a:tbl>
          </a:graphicData>
        </a:graphic>
      </p:graphicFrame>
      <p:sp>
        <p:nvSpPr>
          <p:cNvPr id="7" name="Obdélník 6">
            <a:extLst>
              <a:ext uri="{FF2B5EF4-FFF2-40B4-BE49-F238E27FC236}">
                <a16:creationId xmlns:a16="http://schemas.microsoft.com/office/drawing/2014/main" id="{25C2658B-5F4D-4E25-809A-B07FC20B8E8A}"/>
              </a:ext>
            </a:extLst>
          </p:cNvPr>
          <p:cNvSpPr/>
          <p:nvPr/>
        </p:nvSpPr>
        <p:spPr>
          <a:xfrm>
            <a:off x="1752601" y="6566046"/>
            <a:ext cx="828039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70397ABA-C686-444D-9A37-CA5AF71FAD64}"/>
              </a:ext>
            </a:extLst>
          </p:cNvPr>
          <p:cNvSpPr txBox="1"/>
          <p:nvPr/>
        </p:nvSpPr>
        <p:spPr>
          <a:xfrm>
            <a:off x="257785" y="5774033"/>
            <a:ext cx="11800865" cy="8463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100" dirty="0"/>
              <a:t>Zahrnuty jsou zdravotničtí pracovníci (ZP) podle hlášení povinných subjektů do NRZP (vzdělávací instituce, poskytovatelé). Celkový počet ZP zahrnuje osoby s odpovídající odbornou způsobilostí pro výkony povolání ZP* žijící k danému datu. Výstup nezohledňuje, zda daný ZP skutečně vykonává dané povolání v ČR. Zahrnuti jsou i ZP v seniorním, důchodovém, věku.</a:t>
            </a:r>
          </a:p>
          <a:p>
            <a:r>
              <a:rPr lang="cs-CZ" sz="900" dirty="0"/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</p:txBody>
      </p:sp>
    </p:spTree>
    <p:extLst>
      <p:ext uri="{BB962C8B-B14F-4D97-AF65-F5344CB8AC3E}">
        <p14:creationId xmlns:p14="http://schemas.microsoft.com/office/powerpoint/2010/main" val="399771995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Vakcinace posilující dávkou</a:t>
            </a:r>
          </a:p>
        </p:txBody>
      </p:sp>
      <p:sp>
        <p:nvSpPr>
          <p:cNvPr id="5" name="TextBox 6">
            <a:extLst>
              <a:ext uri="{FF2B5EF4-FFF2-40B4-BE49-F238E27FC236}">
                <a16:creationId xmlns:a16="http://schemas.microsoft.com/office/drawing/2014/main" id="{FC5F43CD-61A6-4942-B1EB-1AFAC38D4C4A}"/>
              </a:ext>
            </a:extLst>
          </p:cNvPr>
          <p:cNvSpPr txBox="1"/>
          <p:nvPr/>
        </p:nvSpPr>
        <p:spPr>
          <a:xfrm>
            <a:off x="5686425" y="103334"/>
            <a:ext cx="23717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26. 12. 2021</a:t>
            </a: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05F5D353-1230-45A8-9016-8A9D8618F6E5}"/>
              </a:ext>
            </a:extLst>
          </p:cNvPr>
          <p:cNvSpPr/>
          <p:nvPr/>
        </p:nvSpPr>
        <p:spPr>
          <a:xfrm>
            <a:off x="252076" y="600164"/>
            <a:ext cx="353173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ktivní zdravotničtí pracovníci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442B2FDB-F20E-40AA-ADF4-05FC4E7F4BF6}"/>
              </a:ext>
            </a:extLst>
          </p:cNvPr>
          <p:cNvSpPr txBox="1"/>
          <p:nvPr/>
        </p:nvSpPr>
        <p:spPr>
          <a:xfrm>
            <a:off x="252076" y="6023223"/>
            <a:ext cx="11561308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zdravotnických pracovníků (ZP) dle hlášení povinných subjektů do Národního registru zdravotnických pracovníků – NRZP (vzdělávací instituce, poskytovatelé). Celkový počet ZP zahrnuje osoby s odpovídající odbornou způsobilostí pro výkony ZP a žijící k danému datu. V této analýze jsou zahrnuti ZP, u kterých poskytovatelé zdravotních služeb nahlásili jejich aktivní výkon zaměstnání 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období od 1.9.2021 do současnosti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v ambulantním sektoru mohou být tyto počty mírně nedohlášené). </a:t>
            </a:r>
          </a:p>
        </p:txBody>
      </p:sp>
      <p:graphicFrame>
        <p:nvGraphicFramePr>
          <p:cNvPr id="11" name="Table 2">
            <a:extLst>
              <a:ext uri="{FF2B5EF4-FFF2-40B4-BE49-F238E27FC236}">
                <a16:creationId xmlns:a16="http://schemas.microsoft.com/office/drawing/2014/main" id="{4567601D-A50C-4550-904F-A1C3633503D3}"/>
              </a:ext>
            </a:extLst>
          </p:cNvPr>
          <p:cNvGraphicFramePr>
            <a:graphicFrameLocks noGrp="1"/>
          </p:cNvGraphicFramePr>
          <p:nvPr/>
        </p:nvGraphicFramePr>
        <p:xfrm>
          <a:off x="315344" y="958340"/>
          <a:ext cx="11561311" cy="4698672"/>
        </p:xfrm>
        <a:graphic>
          <a:graphicData uri="http://schemas.openxmlformats.org/drawingml/2006/table">
            <a:tbl>
              <a:tblPr firstRow="1" lastRow="1" bandRow="1">
                <a:tableStyleId>{74C1A8A3-306A-4EB7-A6B1-4F7E0EB9C5D6}</a:tableStyleId>
              </a:tblPr>
              <a:tblGrid>
                <a:gridCol w="1744287">
                  <a:extLst>
                    <a:ext uri="{9D8B030D-6E8A-4147-A177-3AD203B41FA5}">
                      <a16:colId xmlns:a16="http://schemas.microsoft.com/office/drawing/2014/main" val="2523158226"/>
                    </a:ext>
                  </a:extLst>
                </a:gridCol>
                <a:gridCol w="1227128">
                  <a:extLst>
                    <a:ext uri="{9D8B030D-6E8A-4147-A177-3AD203B41FA5}">
                      <a16:colId xmlns:a16="http://schemas.microsoft.com/office/drawing/2014/main" val="1593569998"/>
                    </a:ext>
                  </a:extLst>
                </a:gridCol>
                <a:gridCol w="613564">
                  <a:extLst>
                    <a:ext uri="{9D8B030D-6E8A-4147-A177-3AD203B41FA5}">
                      <a16:colId xmlns:a16="http://schemas.microsoft.com/office/drawing/2014/main" val="3216406433"/>
                    </a:ext>
                  </a:extLst>
                </a:gridCol>
                <a:gridCol w="613564">
                  <a:extLst>
                    <a:ext uri="{9D8B030D-6E8A-4147-A177-3AD203B41FA5}">
                      <a16:colId xmlns:a16="http://schemas.microsoft.com/office/drawing/2014/main" val="10018221"/>
                    </a:ext>
                  </a:extLst>
                </a:gridCol>
                <a:gridCol w="1227128">
                  <a:extLst>
                    <a:ext uri="{9D8B030D-6E8A-4147-A177-3AD203B41FA5}">
                      <a16:colId xmlns:a16="http://schemas.microsoft.com/office/drawing/2014/main" val="1759659700"/>
                    </a:ext>
                  </a:extLst>
                </a:gridCol>
                <a:gridCol w="613564">
                  <a:extLst>
                    <a:ext uri="{9D8B030D-6E8A-4147-A177-3AD203B41FA5}">
                      <a16:colId xmlns:a16="http://schemas.microsoft.com/office/drawing/2014/main" val="2767492860"/>
                    </a:ext>
                  </a:extLst>
                </a:gridCol>
                <a:gridCol w="613564">
                  <a:extLst>
                    <a:ext uri="{9D8B030D-6E8A-4147-A177-3AD203B41FA5}">
                      <a16:colId xmlns:a16="http://schemas.microsoft.com/office/drawing/2014/main" val="2826083769"/>
                    </a:ext>
                  </a:extLst>
                </a:gridCol>
                <a:gridCol w="1227128">
                  <a:extLst>
                    <a:ext uri="{9D8B030D-6E8A-4147-A177-3AD203B41FA5}">
                      <a16:colId xmlns:a16="http://schemas.microsoft.com/office/drawing/2014/main" val="773291409"/>
                    </a:ext>
                  </a:extLst>
                </a:gridCol>
                <a:gridCol w="613564">
                  <a:extLst>
                    <a:ext uri="{9D8B030D-6E8A-4147-A177-3AD203B41FA5}">
                      <a16:colId xmlns:a16="http://schemas.microsoft.com/office/drawing/2014/main" val="3497186403"/>
                    </a:ext>
                  </a:extLst>
                </a:gridCol>
                <a:gridCol w="613564">
                  <a:extLst>
                    <a:ext uri="{9D8B030D-6E8A-4147-A177-3AD203B41FA5}">
                      <a16:colId xmlns:a16="http://schemas.microsoft.com/office/drawing/2014/main" val="2413921439"/>
                    </a:ext>
                  </a:extLst>
                </a:gridCol>
                <a:gridCol w="1227128">
                  <a:extLst>
                    <a:ext uri="{9D8B030D-6E8A-4147-A177-3AD203B41FA5}">
                      <a16:colId xmlns:a16="http://schemas.microsoft.com/office/drawing/2014/main" val="843981191"/>
                    </a:ext>
                  </a:extLst>
                </a:gridCol>
                <a:gridCol w="613564">
                  <a:extLst>
                    <a:ext uri="{9D8B030D-6E8A-4147-A177-3AD203B41FA5}">
                      <a16:colId xmlns:a16="http://schemas.microsoft.com/office/drawing/2014/main" val="3182885545"/>
                    </a:ext>
                  </a:extLst>
                </a:gridCol>
                <a:gridCol w="613564">
                  <a:extLst>
                    <a:ext uri="{9D8B030D-6E8A-4147-A177-3AD203B41FA5}">
                      <a16:colId xmlns:a16="http://schemas.microsoft.com/office/drawing/2014/main" val="3067111112"/>
                    </a:ext>
                  </a:extLst>
                </a:gridCol>
              </a:tblGrid>
              <a:tr h="613647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Zdravotničtí pracovníci </a:t>
                      </a:r>
                    </a:p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Lékaři </a:t>
                      </a:r>
                    </a:p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(včetně zubních lékařů)</a:t>
                      </a:r>
                      <a:endParaRPr lang="cs-CZ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estry</a:t>
                      </a:r>
                      <a:r>
                        <a:rPr lang="cs-CZ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</a:p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(§ 5 Všeobecná sestra, § 5a Dětská sestra, § 6 Porodní asistentka, § 21b Praktická sestra)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Ostatní zdravotničtí pracovníci </a:t>
                      </a:r>
                    </a:p>
                    <a:p>
                      <a:pPr algn="ctr" fontAlgn="ctr"/>
                      <a:r>
                        <a:rPr lang="cs-CZ" sz="10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(NLZP § 7 až § 42 kromě § 21b, farmaceuti)</a:t>
                      </a:r>
                      <a:endParaRPr lang="cs-CZ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3287447"/>
                  </a:ext>
                </a:extLst>
              </a:tr>
              <a:tr h="600991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Kraj podle místa působení*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osob s nárokem na posilující dávku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Osoby s posilující dávkou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osob s nárokem na posilující dávku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Osoby s posilující dávkou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osob s nárokem na posilující dávku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Osoby s posilující dávkou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osob s nárokem na posilující dávku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Osoby s posilující dávkou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93062634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Hlavní město Praha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 9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 48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,8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4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3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,2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66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9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,1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8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1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3,3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776035022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Středoče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7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4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,3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7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,6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3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9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,3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9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,2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848947671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>
                          <a:effectLst/>
                        </a:rPr>
                        <a:t>Jihočeský kraj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4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1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,4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5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,0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37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,5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5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2,1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844333786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>
                          <a:effectLst/>
                        </a:rPr>
                        <a:t>Plzeňský kraj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7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1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,4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4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,3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2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3,6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,3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443186940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Karlovar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9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,1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4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,2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,2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,1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247044073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>
                          <a:effectLst/>
                        </a:rPr>
                        <a:t>Ústecký kraj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9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9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,6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,3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5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,6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7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3,4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024894236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Liberec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4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,3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4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,2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6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5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,0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3,5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28109536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Královéhradec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09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8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,0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,6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3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,9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,6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519525594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Pardubic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7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,7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7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,9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8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2,8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7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5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,5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350366277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Kraj Vysočina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6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97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,9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,4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,7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2,3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72557106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Jihomorav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0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54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,8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4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3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,5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97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7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4,1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67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,2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127962169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Olomouc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1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9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2,8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,0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,6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,4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893644269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Zlín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7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5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4,0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6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,9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,3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7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,4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556090642"/>
                  </a:ext>
                </a:extLst>
              </a:tr>
              <a:tr h="233556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 dirty="0">
                          <a:effectLst/>
                        </a:rPr>
                        <a:t>Moravskoslez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3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6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2,2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6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,1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3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,3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3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9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,5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28310195"/>
                  </a:ext>
                </a:extLst>
              </a:tr>
              <a:tr h="221162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CELKEM**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3 3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2 77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,0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 8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 8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,0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 6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 0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,3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3 8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 8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,8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1976480"/>
                  </a:ext>
                </a:extLst>
              </a:tr>
            </a:tbl>
          </a:graphicData>
        </a:graphic>
      </p:graphicFrame>
      <p:sp>
        <p:nvSpPr>
          <p:cNvPr id="12" name="Obdélník 11">
            <a:extLst>
              <a:ext uri="{FF2B5EF4-FFF2-40B4-BE49-F238E27FC236}">
                <a16:creationId xmlns:a16="http://schemas.microsoft.com/office/drawing/2014/main" id="{07918BD6-47A7-4629-B00F-7C350B485540}"/>
              </a:ext>
            </a:extLst>
          </p:cNvPr>
          <p:cNvSpPr/>
          <p:nvPr/>
        </p:nvSpPr>
        <p:spPr>
          <a:xfrm>
            <a:off x="1752601" y="6566046"/>
            <a:ext cx="828039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  <p:sp>
        <p:nvSpPr>
          <p:cNvPr id="13" name="Obdélník 12">
            <a:extLst>
              <a:ext uri="{FF2B5EF4-FFF2-40B4-BE49-F238E27FC236}">
                <a16:creationId xmlns:a16="http://schemas.microsoft.com/office/drawing/2014/main" id="{0106F417-40A8-41A4-A3D6-B22D419501BE}"/>
              </a:ext>
            </a:extLst>
          </p:cNvPr>
          <p:cNvSpPr/>
          <p:nvPr/>
        </p:nvSpPr>
        <p:spPr>
          <a:xfrm>
            <a:off x="252076" y="5668681"/>
            <a:ext cx="9158276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Přeočkování posilující dávkou je možné pro osoby, které mají nejméně 5 měsíců (v této analýze 152 dnů) po aplikaci ukončovací (druhé) dávky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* Jeden zdravotnický pracovník může působit ve více krajích, do celkového počtu je zahrnut pouze jednou. </a:t>
            </a:r>
          </a:p>
        </p:txBody>
      </p:sp>
    </p:spTree>
    <p:extLst>
      <p:ext uri="{BB962C8B-B14F-4D97-AF65-F5344CB8AC3E}">
        <p14:creationId xmlns:p14="http://schemas.microsoft.com/office/powerpoint/2010/main" val="141034346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</a:t>
            </a:r>
            <a:r>
              <a:rPr lang="cs-CZ" u="sng" dirty="0"/>
              <a:t>aktivní</a:t>
            </a:r>
            <a:r>
              <a:rPr lang="cs-CZ" dirty="0"/>
              <a:t> zdravotničtí pracovníci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B5F8F24A-407C-46C2-BF8F-7094A798CF34}"/>
              </a:ext>
            </a:extLst>
          </p:cNvPr>
          <p:cNvSpPr/>
          <p:nvPr/>
        </p:nvSpPr>
        <p:spPr>
          <a:xfrm>
            <a:off x="311971" y="5699414"/>
            <a:ext cx="11454102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  <a:p>
            <a:pPr>
              <a:defRPr/>
            </a:pPr>
            <a:r>
              <a:rPr lang="cs-CZ" sz="1100" dirty="0">
                <a:solidFill>
                  <a:srgbClr val="000000"/>
                </a:solidFill>
              </a:rPr>
              <a:t>** Počet zdravotnických pracovníků nahlášených do NZIS (Národní registr zdravotnických pracovníků – NRZP) poskytovateli zdravotních služeb jako aktivní v období od 1.9.2021 do současnosti. Jedna osoba může být evidována na více typech pracovních pozic uvedených ve výstupu, v celkovém součtu je zahrnuta pouze jednou.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337535" y="592671"/>
            <a:ext cx="1145410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Počet zdravotnických pracovníků (ZP) dle hlášení povinných subjektů do NRZP** (vzdělávací instituce, poskytovatelé). Celkový počet ZP zahrnuje osoby s odpovídající odbornou způsobilostí pro výkony ZP* a žijící k danému datu. V této analýze jsou zahrnuti ZP, u kterých poskytovatelé zdravotních služeb nahlásili jejich aktivní výkon zaměstnání. </a:t>
            </a:r>
          </a:p>
        </p:txBody>
      </p:sp>
      <p:sp>
        <p:nvSpPr>
          <p:cNvPr id="12" name="TextBox 6">
            <a:extLst>
              <a:ext uri="{FF2B5EF4-FFF2-40B4-BE49-F238E27FC236}">
                <a16:creationId xmlns:a16="http://schemas.microsoft.com/office/drawing/2014/main" id="{7A968ED8-B7A5-4B68-AF27-DAE3E4FFEDCD}"/>
              </a:ext>
            </a:extLst>
          </p:cNvPr>
          <p:cNvSpPr txBox="1"/>
          <p:nvPr/>
        </p:nvSpPr>
        <p:spPr>
          <a:xfrm>
            <a:off x="6096000" y="125783"/>
            <a:ext cx="20097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600" b="1" dirty="0">
                <a:solidFill>
                  <a:srgbClr val="FFFFFF"/>
                </a:solidFill>
              </a:rPr>
              <a:t>Stav k 25. 12. 2021</a:t>
            </a:r>
          </a:p>
        </p:txBody>
      </p:sp>
      <p:sp>
        <p:nvSpPr>
          <p:cNvPr id="14" name="Obdélník 13">
            <a:extLst>
              <a:ext uri="{FF2B5EF4-FFF2-40B4-BE49-F238E27FC236}">
                <a16:creationId xmlns:a16="http://schemas.microsoft.com/office/drawing/2014/main" id="{F04ED3AE-021E-41E6-820F-16896A92FE56}"/>
              </a:ext>
            </a:extLst>
          </p:cNvPr>
          <p:cNvSpPr/>
          <p:nvPr/>
        </p:nvSpPr>
        <p:spPr>
          <a:xfrm>
            <a:off x="1733551" y="6594621"/>
            <a:ext cx="8280399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  <p:graphicFrame>
        <p:nvGraphicFramePr>
          <p:cNvPr id="10" name="Tabulka 9">
            <a:extLst>
              <a:ext uri="{FF2B5EF4-FFF2-40B4-BE49-F238E27FC236}">
                <a16:creationId xmlns:a16="http://schemas.microsoft.com/office/drawing/2014/main" id="{36579048-BB0C-4A41-91BF-EE6AEF0D255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55120243"/>
              </p:ext>
            </p:extLst>
          </p:nvPr>
        </p:nvGraphicFramePr>
        <p:xfrm>
          <a:off x="337535" y="1200434"/>
          <a:ext cx="11516932" cy="4496159"/>
        </p:xfrm>
        <a:graphic>
          <a:graphicData uri="http://schemas.openxmlformats.org/drawingml/2006/table">
            <a:tbl>
              <a:tblPr firstRow="1" lastRow="1" bandRow="1">
                <a:tableStyleId>{5C22544A-7EE6-4342-B048-85BDC9FD1C3A}</a:tableStyleId>
              </a:tblPr>
              <a:tblGrid>
                <a:gridCol w="2910490">
                  <a:extLst>
                    <a:ext uri="{9D8B030D-6E8A-4147-A177-3AD203B41FA5}">
                      <a16:colId xmlns:a16="http://schemas.microsoft.com/office/drawing/2014/main" val="2651665098"/>
                    </a:ext>
                  </a:extLst>
                </a:gridCol>
                <a:gridCol w="1104900">
                  <a:extLst>
                    <a:ext uri="{9D8B030D-6E8A-4147-A177-3AD203B41FA5}">
                      <a16:colId xmlns:a16="http://schemas.microsoft.com/office/drawing/2014/main" val="3939455336"/>
                    </a:ext>
                  </a:extLst>
                </a:gridCol>
                <a:gridCol w="1250257">
                  <a:extLst>
                    <a:ext uri="{9D8B030D-6E8A-4147-A177-3AD203B41FA5}">
                      <a16:colId xmlns:a16="http://schemas.microsoft.com/office/drawing/2014/main" val="2226907532"/>
                    </a:ext>
                  </a:extLst>
                </a:gridCol>
                <a:gridCol w="1250257">
                  <a:extLst>
                    <a:ext uri="{9D8B030D-6E8A-4147-A177-3AD203B41FA5}">
                      <a16:colId xmlns:a16="http://schemas.microsoft.com/office/drawing/2014/main" val="2853433740"/>
                    </a:ext>
                  </a:extLst>
                </a:gridCol>
                <a:gridCol w="1250257">
                  <a:extLst>
                    <a:ext uri="{9D8B030D-6E8A-4147-A177-3AD203B41FA5}">
                      <a16:colId xmlns:a16="http://schemas.microsoft.com/office/drawing/2014/main" val="1897229050"/>
                    </a:ext>
                  </a:extLst>
                </a:gridCol>
                <a:gridCol w="1250257">
                  <a:extLst>
                    <a:ext uri="{9D8B030D-6E8A-4147-A177-3AD203B41FA5}">
                      <a16:colId xmlns:a16="http://schemas.microsoft.com/office/drawing/2014/main" val="4290228433"/>
                    </a:ext>
                  </a:extLst>
                </a:gridCol>
                <a:gridCol w="1250257">
                  <a:extLst>
                    <a:ext uri="{9D8B030D-6E8A-4147-A177-3AD203B41FA5}">
                      <a16:colId xmlns:a16="http://schemas.microsoft.com/office/drawing/2014/main" val="1516975932"/>
                    </a:ext>
                  </a:extLst>
                </a:gridCol>
                <a:gridCol w="1250257">
                  <a:extLst>
                    <a:ext uri="{9D8B030D-6E8A-4147-A177-3AD203B41FA5}">
                      <a16:colId xmlns:a16="http://schemas.microsoft.com/office/drawing/2014/main" val="2183727549"/>
                    </a:ext>
                  </a:extLst>
                </a:gridCol>
              </a:tblGrid>
              <a:tr h="50319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dirty="0"/>
                        <a:t>Zdravotničtí pracovníci evidovaní v NZIS podle pracovních pozic**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 dirty="0">
                          <a:effectLst/>
                        </a:rPr>
                        <a:t>Počet zdravotnických pracovníků**</a:t>
                      </a:r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Očkovaní celkem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S posilující dávkou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S ukončovací dávkou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Pouze s 1. dávkou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Prodělali onemocnění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Ostatní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3304470326"/>
                  </a:ext>
                </a:extLst>
              </a:tr>
              <a:tr h="35428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u="none" strike="noStrike" dirty="0">
                          <a:effectLst/>
                        </a:rPr>
                        <a:t>Lékaři </a:t>
                      </a:r>
                    </a:p>
                    <a:p>
                      <a:pPr algn="l" fontAlgn="ctr"/>
                      <a:r>
                        <a:rPr lang="cs-CZ" sz="1050" b="0" u="none" strike="noStrike" dirty="0">
                          <a:effectLst/>
                        </a:rPr>
                        <a:t>(včetně zubních lékařů)*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 29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 988 (87,9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 864 (64,8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770 (22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4 (0,7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97 (2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08 (9,6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1230907"/>
                  </a:ext>
                </a:extLst>
              </a:tr>
              <a:tr h="51016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u="none" strike="noStrike" dirty="0">
                          <a:effectLst/>
                        </a:rPr>
                        <a:t>Sestry </a:t>
                      </a:r>
                    </a:p>
                    <a:p>
                      <a:pPr algn="l" fontAlgn="ctr"/>
                      <a:r>
                        <a:rPr lang="cs-CZ" sz="1050" b="0" u="none" strike="noStrike" dirty="0">
                          <a:effectLst/>
                        </a:rPr>
                        <a:t>(§ 5 Všeobecná sestra, § 5a Dětská sestra, § 6 Porodní asistentka, § 21b Praktická sestra)*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5 29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 611 (83,2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 074 (47,6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 222 (34,4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15 (1,2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907 (7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780 (9,3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12447989"/>
                  </a:ext>
                </a:extLst>
              </a:tr>
              <a:tr h="35428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u="none" strike="noStrike" dirty="0">
                          <a:effectLst/>
                        </a:rPr>
                        <a:t>Ostatní zdravotničtí pracovníci </a:t>
                      </a:r>
                    </a:p>
                    <a:p>
                      <a:pPr algn="l" fontAlgn="ctr"/>
                      <a:r>
                        <a:rPr lang="cs-CZ" sz="1050" b="0" u="none" strike="noStrike" dirty="0">
                          <a:effectLst/>
                        </a:rPr>
                        <a:t>(NLZP § 7 až § 42 kromě § 21b, farmaceuti)*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2 48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 508 (80,6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 813 (42,0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 554 (37,4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41 (1,2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143 (7,7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837 (11,7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18325100"/>
                  </a:ext>
                </a:extLst>
              </a:tr>
              <a:tr h="3631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rmaceuti</a:t>
                      </a:r>
                    </a:p>
                    <a:p>
                      <a:pPr algn="l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farmaceut, § 19 Farmaceutický asistent)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0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28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326 (79,3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109 (42,8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31 (35,2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6 (1,3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34 (7,2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24 (13,5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90077023"/>
                  </a:ext>
                </a:extLst>
              </a:tr>
              <a:tr h="3114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36 Ošetřovatel</a:t>
                      </a:r>
                    </a:p>
                  </a:txBody>
                  <a:tcPr marL="180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68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10 (79,4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29 (37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03 (40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 (1,4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0 (9,9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3 (10,8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52189762"/>
                  </a:ext>
                </a:extLst>
              </a:tr>
              <a:tr h="3114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42 Sanitář</a:t>
                      </a:r>
                    </a:p>
                  </a:txBody>
                  <a:tcPr marL="180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85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091 (81,6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736 (41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051 (38,9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4 (1,2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67 (8,0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98 (10,4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96871678"/>
                  </a:ext>
                </a:extLst>
              </a:tr>
              <a:tr h="3114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18 Zdravotnický záchranář</a:t>
                      </a:r>
                    </a:p>
                  </a:txBody>
                  <a:tcPr marL="180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4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06 (86,0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45 (53,8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15 (31,2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 (1,0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6 (5,4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0 (8,6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49172008"/>
                  </a:ext>
                </a:extLst>
              </a:tr>
              <a:tr h="3114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24 Fyzioterapeut</a:t>
                      </a:r>
                    </a:p>
                  </a:txBody>
                  <a:tcPr marL="180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29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055 (75,9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58 (37,2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78 (37,4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9 (1,3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63 (9,3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79 (14,8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46653829"/>
                  </a:ext>
                </a:extLst>
              </a:tr>
              <a:tr h="462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boratorní pracovníci</a:t>
                      </a:r>
                    </a:p>
                    <a:p>
                      <a:pPr algn="l" fontAlgn="ctr"/>
                      <a:r>
                        <a:rPr lang="cs-C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§ 8 Radiologický asistent, § 9 Zdravotní laborant, § 26 Odborný pracovník v laboratorních metodách a v přípravě léčivých přípravků, § 30 Laboratorní asistent, § 41 Autoptický laborant)</a:t>
                      </a:r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0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69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076 (82,2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450 (43,9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440 (37,0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6 (1,3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82 (7,4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34 (10,4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84958823"/>
                  </a:ext>
                </a:extLst>
              </a:tr>
              <a:tr h="3114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statní NLZP</a:t>
                      </a:r>
                    </a:p>
                  </a:txBody>
                  <a:tcPr marL="180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2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175 (80,9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942 (42,1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974 (37,6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9 (1,2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88 (7,0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54 (12,0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24713135"/>
                  </a:ext>
                </a:extLst>
              </a:tr>
              <a:tr h="3114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u="none" strike="noStrike" dirty="0">
                          <a:effectLst/>
                        </a:rPr>
                        <a:t>CELKEM**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1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50 07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08 107 (83,2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22 751 (49,1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82 546 (33,0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 810 (1,1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6 347 (6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5 625 (10,2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3417744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4678155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</a:t>
            </a:r>
            <a:r>
              <a:rPr lang="cs-CZ" u="sng" dirty="0"/>
              <a:t>aktivní</a:t>
            </a:r>
            <a:r>
              <a:rPr lang="cs-CZ" dirty="0"/>
              <a:t> zdravotničtí pracovníci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B5F8F24A-407C-46C2-BF8F-7094A798CF34}"/>
              </a:ext>
            </a:extLst>
          </p:cNvPr>
          <p:cNvSpPr/>
          <p:nvPr/>
        </p:nvSpPr>
        <p:spPr>
          <a:xfrm>
            <a:off x="311971" y="5699414"/>
            <a:ext cx="11454102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  <a:p>
            <a:pPr>
              <a:defRPr/>
            </a:pPr>
            <a:r>
              <a:rPr lang="cs-CZ" sz="1100" dirty="0">
                <a:solidFill>
                  <a:srgbClr val="000000"/>
                </a:solidFill>
              </a:rPr>
              <a:t>** Počet zdravotnických pracovníků nahlášených do NZIS (Národní registr zdravotnických pracovníků – NRZP) poskytovateli zdravotních služeb jako aktivní v období od 1.9.2021 do současnosti. Jedna osoba může být evidována na více typech pracovních pozic uvedených ve výstupu, v celkovém součtu je zahrnuta pouze jednou.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337535" y="592671"/>
            <a:ext cx="1145410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Počet zdravotnických pracovníků (ZP) dle hlášení povinných subjektů do NRZP** (vzdělávací instituce, poskytovatelé). Celkový počet ZP zahrnuje osoby s odpovídající odbornou způsobilostí pro výkony ZP* a žijící k danému datu. V této analýze jsou zahrnuti ZP, u kterých poskytovatelé zdravotních služeb nahlásili jejich aktivní výkon zaměstnání. </a:t>
            </a:r>
          </a:p>
        </p:txBody>
      </p:sp>
      <p:sp>
        <p:nvSpPr>
          <p:cNvPr id="12" name="TextBox 6">
            <a:extLst>
              <a:ext uri="{FF2B5EF4-FFF2-40B4-BE49-F238E27FC236}">
                <a16:creationId xmlns:a16="http://schemas.microsoft.com/office/drawing/2014/main" id="{7A968ED8-B7A5-4B68-AF27-DAE3E4FFEDCD}"/>
              </a:ext>
            </a:extLst>
          </p:cNvPr>
          <p:cNvSpPr txBox="1"/>
          <p:nvPr/>
        </p:nvSpPr>
        <p:spPr>
          <a:xfrm>
            <a:off x="6096000" y="125783"/>
            <a:ext cx="20097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600" b="1" dirty="0">
                <a:solidFill>
                  <a:srgbClr val="FFFFFF"/>
                </a:solidFill>
              </a:rPr>
              <a:t>Stav k 25. 12. 2021</a:t>
            </a:r>
          </a:p>
        </p:txBody>
      </p:sp>
      <p:sp>
        <p:nvSpPr>
          <p:cNvPr id="14" name="Obdélník 13">
            <a:extLst>
              <a:ext uri="{FF2B5EF4-FFF2-40B4-BE49-F238E27FC236}">
                <a16:creationId xmlns:a16="http://schemas.microsoft.com/office/drawing/2014/main" id="{F04ED3AE-021E-41E6-820F-16896A92FE56}"/>
              </a:ext>
            </a:extLst>
          </p:cNvPr>
          <p:cNvSpPr/>
          <p:nvPr/>
        </p:nvSpPr>
        <p:spPr>
          <a:xfrm>
            <a:off x="1733551" y="6594621"/>
            <a:ext cx="8280399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  <p:graphicFrame>
        <p:nvGraphicFramePr>
          <p:cNvPr id="10" name="Graf 9">
            <a:extLst>
              <a:ext uri="{FF2B5EF4-FFF2-40B4-BE49-F238E27FC236}">
                <a16:creationId xmlns:a16="http://schemas.microsoft.com/office/drawing/2014/main" id="{57D8B5EC-D4C4-4142-B9B3-D668437D7507}"/>
              </a:ext>
            </a:extLst>
          </p:cNvPr>
          <p:cNvGraphicFramePr/>
          <p:nvPr/>
        </p:nvGraphicFramePr>
        <p:xfrm>
          <a:off x="847725" y="981075"/>
          <a:ext cx="10696575" cy="49244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85E273B3-595D-4506-8111-3C0DC2F8EF9D}"/>
              </a:ext>
            </a:extLst>
          </p:cNvPr>
          <p:cNvGraphicFramePr>
            <a:graphicFrameLocks noGrp="1"/>
          </p:cNvGraphicFramePr>
          <p:nvPr/>
        </p:nvGraphicFramePr>
        <p:xfrm>
          <a:off x="11229975" y="1724026"/>
          <a:ext cx="824515" cy="3975389"/>
        </p:xfrm>
        <a:graphic>
          <a:graphicData uri="http://schemas.openxmlformats.org/drawingml/2006/table">
            <a:tbl>
              <a:tblPr firstRow="1" lastRow="1" bandRow="1"/>
              <a:tblGrid>
                <a:gridCol w="824515">
                  <a:extLst>
                    <a:ext uri="{9D8B030D-6E8A-4147-A177-3AD203B41FA5}">
                      <a16:colId xmlns:a16="http://schemas.microsoft.com/office/drawing/2014/main" val="2631467471"/>
                    </a:ext>
                  </a:extLst>
                </a:gridCol>
              </a:tblGrid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52 29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90562307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105 29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25743896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92 48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45828545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14 28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0186760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5 68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27157132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25 85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70659329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4 5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826878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9 29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8285988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14 69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54712990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21 2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71670276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250 07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2601955"/>
                  </a:ext>
                </a:extLst>
              </a:tr>
            </a:tbl>
          </a:graphicData>
        </a:graphic>
      </p:graphicFrame>
      <p:graphicFrame>
        <p:nvGraphicFramePr>
          <p:cNvPr id="15" name="Tabulka 14">
            <a:extLst>
              <a:ext uri="{FF2B5EF4-FFF2-40B4-BE49-F238E27FC236}">
                <a16:creationId xmlns:a16="http://schemas.microsoft.com/office/drawing/2014/main" id="{4AA833D1-7B4A-4D1C-A2B1-06653D5E7670}"/>
              </a:ext>
            </a:extLst>
          </p:cNvPr>
          <p:cNvGraphicFramePr>
            <a:graphicFrameLocks noGrp="1"/>
          </p:cNvGraphicFramePr>
          <p:nvPr/>
        </p:nvGraphicFramePr>
        <p:xfrm>
          <a:off x="257786" y="1724025"/>
          <a:ext cx="2342539" cy="397538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342539">
                  <a:extLst>
                    <a:ext uri="{9D8B030D-6E8A-4147-A177-3AD203B41FA5}">
                      <a16:colId xmlns:a16="http://schemas.microsoft.com/office/drawing/2014/main" val="2651665098"/>
                    </a:ext>
                  </a:extLst>
                </a:gridCol>
              </a:tblGrid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200" b="1" u="none" strike="noStrike" dirty="0">
                          <a:effectLst/>
                        </a:rPr>
                        <a:t>Lékaři </a:t>
                      </a:r>
                    </a:p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800" b="0" u="none" strike="noStrike" dirty="0">
                          <a:effectLst/>
                        </a:rPr>
                        <a:t>(včetně zubních lékařů)*</a:t>
                      </a:r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230907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200" b="1" u="none" strike="noStrike" dirty="0">
                          <a:effectLst/>
                        </a:rPr>
                        <a:t>Sestry </a:t>
                      </a:r>
                    </a:p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800" b="0" u="none" strike="noStrike" dirty="0">
                          <a:effectLst/>
                        </a:rPr>
                        <a:t>(§ 5 Všeobecná sestra, § 5a Dětská sestra, § 6 Porodní asistentka, § 21b Praktická sestra)*</a:t>
                      </a:r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12447989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200" b="1" u="none" strike="noStrike" dirty="0">
                          <a:effectLst/>
                        </a:rPr>
                        <a:t>Ostatní zdravotničtí pracovníci </a:t>
                      </a:r>
                    </a:p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800" b="0" u="none" strike="noStrike" dirty="0">
                          <a:effectLst/>
                        </a:rPr>
                        <a:t>(NLZP § 7 až § 42 kromě § 21b, farmaceuti)*</a:t>
                      </a:r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18325100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rmaceuti</a:t>
                      </a:r>
                    </a:p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farmaceut, § 19 Farmaceutický asistent)</a:t>
                      </a:r>
                    </a:p>
                  </a:txBody>
                  <a:tcPr marL="180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90077023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36 Ošetřovatel</a:t>
                      </a:r>
                    </a:p>
                  </a:txBody>
                  <a:tcPr marL="180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52189762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42 Sanitář</a:t>
                      </a:r>
                    </a:p>
                  </a:txBody>
                  <a:tcPr marL="180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96871678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18 Zdravotnický záchranář</a:t>
                      </a:r>
                    </a:p>
                  </a:txBody>
                  <a:tcPr marL="180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49172008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24 Fyzioterapeut</a:t>
                      </a:r>
                    </a:p>
                  </a:txBody>
                  <a:tcPr marL="180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46653829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boratorní pracovníci</a:t>
                      </a:r>
                    </a:p>
                  </a:txBody>
                  <a:tcPr marL="180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84958823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statní NLZP</a:t>
                      </a:r>
                    </a:p>
                  </a:txBody>
                  <a:tcPr marL="180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4713135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200" b="1" u="none" strike="noStrike" dirty="0">
                          <a:effectLst/>
                        </a:rPr>
                        <a:t>CELKEM**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417744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6547100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NGAGE" val="{&quot;SavedSwatch&quot;:&quot;-16748873|-10780376|-3468525|-5151986|-9539986|Markido&quot;,&quot;Id&quot;:&quot;60abf0963433422b508f8030&quot;,&quot;SmartGridHorizontal&quot;:0,&quot;LinkedExcelSources&quot;:{},&quot;LinkedProjectSources&quot;:{},&quot;FlowConfig&quot;:{&quot;Canvas&quot;:{&quot;Slide&quot;:-1,&quot;Width&quot;:0,&quot;Height&quot;:0},&quot;Timeline&quot;:{&quot;Actions&quot;:[]}},&quot;LinkedSlideMergeSources&quot;:{},&quot;LinkedSharePointSlideMergeSources&quot;:{}}"/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7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7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7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7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zentace2" id="{2F500C3B-2BAF-4CA5-849A-B1EC376A25DB}" vid="{C99570C5-ACCF-4382-8246-136F83C28052}"/>
    </a:ext>
  </a:extLst>
</a:theme>
</file>

<file path=ppt/theme/theme2.xml><?xml version="1.0" encoding="utf-8"?>
<a:theme xmlns:a="http://schemas.openxmlformats.org/drawingml/2006/main" name="3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4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191</TotalTime>
  <Words>10198</Words>
  <Application>Microsoft Office PowerPoint</Application>
  <PresentationFormat>Širokoúhlá obrazovka</PresentationFormat>
  <Paragraphs>2241</Paragraphs>
  <Slides>43</Slides>
  <Notes>26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3</vt:i4>
      </vt:variant>
      <vt:variant>
        <vt:lpstr>Nadpisy snímků</vt:lpstr>
      </vt:variant>
      <vt:variant>
        <vt:i4>43</vt:i4>
      </vt:variant>
    </vt:vector>
  </HeadingPairs>
  <TitlesOfParts>
    <vt:vector size="49" baseType="lpstr">
      <vt:lpstr>Arial</vt:lpstr>
      <vt:lpstr>Calibri</vt:lpstr>
      <vt:lpstr>Calibri Light</vt:lpstr>
      <vt:lpstr>Motiv Office</vt:lpstr>
      <vt:lpstr>3_Motiv Office</vt:lpstr>
      <vt:lpstr>1_Motiv Office</vt:lpstr>
      <vt:lpstr>Prezentace aplikace PowerPoint</vt:lpstr>
      <vt:lpstr>Prezentace aplikace PowerPoint</vt:lpstr>
      <vt:lpstr>Očkování zdravotnických pracovníků </vt:lpstr>
      <vt:lpstr>Očkovaní zdravotničtí pracovníci celkem</vt:lpstr>
      <vt:lpstr>Očkovaní aktivní zdravotničtí pracovníci</vt:lpstr>
      <vt:lpstr>Očkování zdravotnických pracovníků – počty očkovaných v čase</vt:lpstr>
      <vt:lpstr>Vakcinace posilující dávkou</vt:lpstr>
      <vt:lpstr>Očkovaní aktivní zdravotničtí pracovníci</vt:lpstr>
      <vt:lpstr>Očkovaní aktivní zdravotničtí pracovníci</vt:lpstr>
      <vt:lpstr>Očkování zdravotnických pracovníků </vt:lpstr>
      <vt:lpstr>Očkovaní zdravotníci v nemocnicích akutní lůžkové péče a ZZS</vt:lpstr>
      <vt:lpstr>Očkování zdravotnických pracovníků </vt:lpstr>
      <vt:lpstr>Přehled povolání u COVID-19 pozitivních ostatních zdravotnických pracovníků za období 01-12 / 2021 k 25. 12.</vt:lpstr>
      <vt:lpstr>Přehled povolání u COVID-19 pozitivních ostatních zdravotnických pracovníků za období 10-12 / 2021 k 25. 12.</vt:lpstr>
      <vt:lpstr>Očkovaní aktivní zdravotničtí pracovníci</vt:lpstr>
      <vt:lpstr>Očkovaní NLZP v nemocnicích akutní lůžkové péče a ZZS</vt:lpstr>
      <vt:lpstr>Očkovaní lékaři* podle typu zdravotnického zařízení</vt:lpstr>
      <vt:lpstr>Očkované sestry* podle typu zdravotnického zařízení</vt:lpstr>
      <vt:lpstr>Očkovaní ostatní ZP* podle typu zdravotnického zařízení</vt:lpstr>
      <vt:lpstr>Prezentace aplikace PowerPoint</vt:lpstr>
      <vt:lpstr>Počty pracovníků ve zdravotnictví s nákazou COVID-19</vt:lpstr>
      <vt:lpstr>Počty pracovníků ve zdravotnictví s nákazou COVID-19</vt:lpstr>
      <vt:lpstr>Prezentace aplikace PowerPoint</vt:lpstr>
      <vt:lpstr>Počty COVID-19 pozitivních na 100 000 osob v populaci lékařů</vt:lpstr>
      <vt:lpstr>Prezentace aplikace PowerPoint</vt:lpstr>
      <vt:lpstr>Počty COVID-19 pozitivních na 100 000 osob v populaci sester</vt:lpstr>
      <vt:lpstr>Prezentace aplikace PowerPoint</vt:lpstr>
      <vt:lpstr>Počty COVID-19 pozitivních na 100 000 osob v populaci ostatních ZP</vt:lpstr>
      <vt:lpstr>Prezentace aplikace PowerPoint</vt:lpstr>
      <vt:lpstr>Počty pracovníků ve zdravotnictví s nákazou COVID-19</vt:lpstr>
      <vt:lpstr>Počty pracovníků ve zdravotnictví (ZP) s nákazou COVID-19</vt:lpstr>
      <vt:lpstr>Prezentace aplikace PowerPoint</vt:lpstr>
      <vt:lpstr>Počet nových případů COVID-19 na 100 tis. dané kategorie v populaci lékařů</vt:lpstr>
      <vt:lpstr>Prezentace aplikace PowerPoint</vt:lpstr>
      <vt:lpstr>Počet nových případů COVID-19 na 100 tis. dané kategorie v populaci sester</vt:lpstr>
      <vt:lpstr>Prezentace aplikace PowerPoint</vt:lpstr>
      <vt:lpstr>Počet nových případů COVID-19 na 100 tis. dané kategorie: populace ostatních ZP</vt:lpstr>
      <vt:lpstr>Prezentace aplikace PowerPoint</vt:lpstr>
      <vt:lpstr>Počet nových případů COVID-19 na 100 tis. dané kategorie v populaci ZP celkem </vt:lpstr>
      <vt:lpstr>Prezentace aplikace PowerPoint</vt:lpstr>
      <vt:lpstr>Prezentace aplikace PowerPoint</vt:lpstr>
      <vt:lpstr>Počty nově COVID-19 pozitivních pracovníků  v zařízeních sociálních služeb</vt:lpstr>
      <vt:lpstr>Počty COVID-19 pozitivních na 100 000 osob v populaci pracovníků v sociálních službách*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tiepidemický systém ČR PES</dc:title>
  <dc:creator>Martin Komenda</dc:creator>
  <cp:lastModifiedBy>Dušek Ladislav prof. RNDr. Ph.D.</cp:lastModifiedBy>
  <cp:revision>814</cp:revision>
  <dcterms:created xsi:type="dcterms:W3CDTF">2020-11-11T17:36:28Z</dcterms:created>
  <dcterms:modified xsi:type="dcterms:W3CDTF">2021-12-27T18:21:51Z</dcterms:modified>
</cp:coreProperties>
</file>